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0" r:id="rId1"/>
  </p:sldMasterIdLst>
  <p:notesMasterIdLst>
    <p:notesMasterId r:id="rId11"/>
  </p:notesMasterIdLst>
  <p:sldIdLst>
    <p:sldId id="258" r:id="rId2"/>
    <p:sldId id="259" r:id="rId3"/>
    <p:sldId id="262" r:id="rId4"/>
    <p:sldId id="263" r:id="rId5"/>
    <p:sldId id="264" r:id="rId6"/>
    <p:sldId id="265" r:id="rId7"/>
    <p:sldId id="266" r:id="rId8"/>
    <p:sldId id="268" r:id="rId9"/>
    <p:sldId id="267" r:id="rId10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59595"/>
    <a:srgbClr val="00000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1733AD1-BED1-4C71-B004-3296BFE0AA74}" v="146" dt="2024-11-21T21:47:42.36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739" autoAdjust="0"/>
    <p:restoredTop sz="92354" autoAdjust="0"/>
  </p:normalViewPr>
  <p:slideViewPr>
    <p:cSldViewPr snapToGrid="0">
      <p:cViewPr>
        <p:scale>
          <a:sx n="200" d="100"/>
          <a:sy n="200" d="100"/>
        </p:scale>
        <p:origin x="-1776" y="-24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17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an K" userId="d066db4a5de46abf" providerId="LiveId" clId="{B1733AD1-BED1-4C71-B004-3296BFE0AA74}"/>
    <pc:docChg chg="undo custSel addSld modSld">
      <pc:chgData name="Jan K" userId="d066db4a5de46abf" providerId="LiveId" clId="{B1733AD1-BED1-4C71-B004-3296BFE0AA74}" dt="2024-11-21T21:47:50.198" v="762" actId="14100"/>
      <pc:docMkLst>
        <pc:docMk/>
      </pc:docMkLst>
      <pc:sldChg chg="modSp mod">
        <pc:chgData name="Jan K" userId="d066db4a5de46abf" providerId="LiveId" clId="{B1733AD1-BED1-4C71-B004-3296BFE0AA74}" dt="2024-11-01T22:25:40.516" v="131" actId="1076"/>
        <pc:sldMkLst>
          <pc:docMk/>
          <pc:sldMk cId="3437032930" sldId="265"/>
        </pc:sldMkLst>
        <pc:spChg chg="mod">
          <ac:chgData name="Jan K" userId="d066db4a5de46abf" providerId="LiveId" clId="{B1733AD1-BED1-4C71-B004-3296BFE0AA74}" dt="2024-11-01T22:25:40.516" v="131" actId="1076"/>
          <ac:spMkLst>
            <pc:docMk/>
            <pc:sldMk cId="3437032930" sldId="265"/>
            <ac:spMk id="14" creationId="{327694EA-98CB-C5F1-F8AC-1BA737957912}"/>
          </ac:spMkLst>
        </pc:spChg>
      </pc:sldChg>
      <pc:sldChg chg="addSp delSp modSp mod">
        <pc:chgData name="Jan K" userId="d066db4a5de46abf" providerId="LiveId" clId="{B1733AD1-BED1-4C71-B004-3296BFE0AA74}" dt="2024-11-02T10:52:06.926" v="452" actId="14100"/>
        <pc:sldMkLst>
          <pc:docMk/>
          <pc:sldMk cId="2745595283" sldId="266"/>
        </pc:sldMkLst>
        <pc:spChg chg="add mod">
          <ac:chgData name="Jan K" userId="d066db4a5de46abf" providerId="LiveId" clId="{B1733AD1-BED1-4C71-B004-3296BFE0AA74}" dt="2024-11-01T22:32:23.469" v="193" actId="1076"/>
          <ac:spMkLst>
            <pc:docMk/>
            <pc:sldMk cId="2745595283" sldId="266"/>
            <ac:spMk id="7" creationId="{E72E89F1-DE3E-DF08-C531-06E33C3A207B}"/>
          </ac:spMkLst>
        </pc:spChg>
        <pc:spChg chg="add mod">
          <ac:chgData name="Jan K" userId="d066db4a5de46abf" providerId="LiveId" clId="{B1733AD1-BED1-4C71-B004-3296BFE0AA74}" dt="2024-11-01T22:18:51.959" v="51" actId="164"/>
          <ac:spMkLst>
            <pc:docMk/>
            <pc:sldMk cId="2745595283" sldId="266"/>
            <ac:spMk id="8" creationId="{B75D0647-E9F8-6A05-52E5-6F4C181F9F27}"/>
          </ac:spMkLst>
        </pc:spChg>
        <pc:spChg chg="add mod">
          <ac:chgData name="Jan K" userId="d066db4a5de46abf" providerId="LiveId" clId="{B1733AD1-BED1-4C71-B004-3296BFE0AA74}" dt="2024-11-01T22:18:51.959" v="51" actId="164"/>
          <ac:spMkLst>
            <pc:docMk/>
            <pc:sldMk cId="2745595283" sldId="266"/>
            <ac:spMk id="9" creationId="{9436D166-A256-9792-0029-DB2C8D8039BF}"/>
          </ac:spMkLst>
        </pc:spChg>
        <pc:spChg chg="add mod">
          <ac:chgData name="Jan K" userId="d066db4a5de46abf" providerId="LiveId" clId="{B1733AD1-BED1-4C71-B004-3296BFE0AA74}" dt="2024-11-01T22:18:51.959" v="51" actId="164"/>
          <ac:spMkLst>
            <pc:docMk/>
            <pc:sldMk cId="2745595283" sldId="266"/>
            <ac:spMk id="10" creationId="{A91E7A4A-0C47-3F95-D04F-8306EC8D95E3}"/>
          </ac:spMkLst>
        </pc:spChg>
        <pc:spChg chg="add mod">
          <ac:chgData name="Jan K" userId="d066db4a5de46abf" providerId="LiveId" clId="{B1733AD1-BED1-4C71-B004-3296BFE0AA74}" dt="2024-11-01T22:18:51.959" v="51" actId="164"/>
          <ac:spMkLst>
            <pc:docMk/>
            <pc:sldMk cId="2745595283" sldId="266"/>
            <ac:spMk id="11" creationId="{7E4657F3-59ED-710B-6C65-26C6B4123D96}"/>
          </ac:spMkLst>
        </pc:spChg>
        <pc:spChg chg="add mod ord">
          <ac:chgData name="Jan K" userId="d066db4a5de46abf" providerId="LiveId" clId="{B1733AD1-BED1-4C71-B004-3296BFE0AA74}" dt="2024-11-01T22:22:58.517" v="97" actId="164"/>
          <ac:spMkLst>
            <pc:docMk/>
            <pc:sldMk cId="2745595283" sldId="266"/>
            <ac:spMk id="12" creationId="{365DED4A-26DB-4CA2-8A00-0B44A0975413}"/>
          </ac:spMkLst>
        </pc:spChg>
        <pc:spChg chg="add mod ord">
          <ac:chgData name="Jan K" userId="d066db4a5de46abf" providerId="LiveId" clId="{B1733AD1-BED1-4C71-B004-3296BFE0AA74}" dt="2024-11-01T22:22:58.517" v="97" actId="164"/>
          <ac:spMkLst>
            <pc:docMk/>
            <pc:sldMk cId="2745595283" sldId="266"/>
            <ac:spMk id="14" creationId="{BD3152CC-AC8E-8578-E0A3-EBBD23C4EC1C}"/>
          </ac:spMkLst>
        </pc:spChg>
        <pc:spChg chg="add mod ord">
          <ac:chgData name="Jan K" userId="d066db4a5de46abf" providerId="LiveId" clId="{B1733AD1-BED1-4C71-B004-3296BFE0AA74}" dt="2024-11-01T22:22:58.517" v="97" actId="164"/>
          <ac:spMkLst>
            <pc:docMk/>
            <pc:sldMk cId="2745595283" sldId="266"/>
            <ac:spMk id="15" creationId="{A75DCE3E-B512-0911-D64E-DC963A4F7C8B}"/>
          </ac:spMkLst>
        </pc:spChg>
        <pc:spChg chg="add mod ord">
          <ac:chgData name="Jan K" userId="d066db4a5de46abf" providerId="LiveId" clId="{B1733AD1-BED1-4C71-B004-3296BFE0AA74}" dt="2024-11-01T22:22:58.517" v="97" actId="164"/>
          <ac:spMkLst>
            <pc:docMk/>
            <pc:sldMk cId="2745595283" sldId="266"/>
            <ac:spMk id="16" creationId="{AD7AA7B9-2305-4DB6-1AD0-362FB942274A}"/>
          </ac:spMkLst>
        </pc:spChg>
        <pc:spChg chg="mod">
          <ac:chgData name="Jan K" userId="d066db4a5de46abf" providerId="LiveId" clId="{B1733AD1-BED1-4C71-B004-3296BFE0AA74}" dt="2024-11-01T22:44:27.700" v="267" actId="17032"/>
          <ac:spMkLst>
            <pc:docMk/>
            <pc:sldMk cId="2745595283" sldId="266"/>
            <ac:spMk id="19" creationId="{3A4E6725-765B-96E7-4425-6C7F25A3904E}"/>
          </ac:spMkLst>
        </pc:spChg>
        <pc:spChg chg="mod">
          <ac:chgData name="Jan K" userId="d066db4a5de46abf" providerId="LiveId" clId="{B1733AD1-BED1-4C71-B004-3296BFE0AA74}" dt="2024-11-01T22:44:25.570" v="266" actId="17032"/>
          <ac:spMkLst>
            <pc:docMk/>
            <pc:sldMk cId="2745595283" sldId="266"/>
            <ac:spMk id="20" creationId="{1B6190EE-E9D9-F693-BBFD-4E2C85BAEB7F}"/>
          </ac:spMkLst>
        </pc:spChg>
        <pc:spChg chg="mod">
          <ac:chgData name="Jan K" userId="d066db4a5de46abf" providerId="LiveId" clId="{B1733AD1-BED1-4C71-B004-3296BFE0AA74}" dt="2024-11-01T22:23:08.264" v="98"/>
          <ac:spMkLst>
            <pc:docMk/>
            <pc:sldMk cId="2745595283" sldId="266"/>
            <ac:spMk id="21" creationId="{DA72060B-362D-6F44-5ED9-1F043BA8AC99}"/>
          </ac:spMkLst>
        </pc:spChg>
        <pc:spChg chg="mod">
          <ac:chgData name="Jan K" userId="d066db4a5de46abf" providerId="LiveId" clId="{B1733AD1-BED1-4C71-B004-3296BFE0AA74}" dt="2024-11-01T22:23:08.264" v="98"/>
          <ac:spMkLst>
            <pc:docMk/>
            <pc:sldMk cId="2745595283" sldId="266"/>
            <ac:spMk id="22" creationId="{94CC3569-7952-7F68-EA3E-5A844134158E}"/>
          </ac:spMkLst>
        </pc:spChg>
        <pc:spChg chg="mod">
          <ac:chgData name="Jan K" userId="d066db4a5de46abf" providerId="LiveId" clId="{B1733AD1-BED1-4C71-B004-3296BFE0AA74}" dt="2024-11-01T22:23:08.264" v="98"/>
          <ac:spMkLst>
            <pc:docMk/>
            <pc:sldMk cId="2745595283" sldId="266"/>
            <ac:spMk id="24" creationId="{43B2CF6D-B9C3-AF21-65B8-7EDEE2045733}"/>
          </ac:spMkLst>
        </pc:spChg>
        <pc:spChg chg="mod">
          <ac:chgData name="Jan K" userId="d066db4a5de46abf" providerId="LiveId" clId="{B1733AD1-BED1-4C71-B004-3296BFE0AA74}" dt="2024-11-01T22:23:08.264" v="98"/>
          <ac:spMkLst>
            <pc:docMk/>
            <pc:sldMk cId="2745595283" sldId="266"/>
            <ac:spMk id="25" creationId="{2AFA8B74-FF28-414D-E05D-57AFA96CF8EB}"/>
          </ac:spMkLst>
        </pc:spChg>
        <pc:spChg chg="mod">
          <ac:chgData name="Jan K" userId="d066db4a5de46abf" providerId="LiveId" clId="{B1733AD1-BED1-4C71-B004-3296BFE0AA74}" dt="2024-11-01T22:23:08.264" v="98"/>
          <ac:spMkLst>
            <pc:docMk/>
            <pc:sldMk cId="2745595283" sldId="266"/>
            <ac:spMk id="26" creationId="{81BF3C83-FF82-878B-211F-88DCFFF48B14}"/>
          </ac:spMkLst>
        </pc:spChg>
        <pc:spChg chg="mod">
          <ac:chgData name="Jan K" userId="d066db4a5de46abf" providerId="LiveId" clId="{B1733AD1-BED1-4C71-B004-3296BFE0AA74}" dt="2024-11-01T22:23:08.264" v="98"/>
          <ac:spMkLst>
            <pc:docMk/>
            <pc:sldMk cId="2745595283" sldId="266"/>
            <ac:spMk id="27" creationId="{FF14F6D2-3211-2FF3-805B-02216D1FF3F8}"/>
          </ac:spMkLst>
        </pc:spChg>
        <pc:spChg chg="add mod">
          <ac:chgData name="Jan K" userId="d066db4a5de46abf" providerId="LiveId" clId="{B1733AD1-BED1-4C71-B004-3296BFE0AA74}" dt="2024-11-01T22:44:20.771" v="265" actId="14100"/>
          <ac:spMkLst>
            <pc:docMk/>
            <pc:sldMk cId="2745595283" sldId="266"/>
            <ac:spMk id="28" creationId="{C41DDC22-07A0-A55C-BE12-E26E3AADCA32}"/>
          </ac:spMkLst>
        </pc:spChg>
        <pc:spChg chg="add mod">
          <ac:chgData name="Jan K" userId="d066db4a5de46abf" providerId="LiveId" clId="{B1733AD1-BED1-4C71-B004-3296BFE0AA74}" dt="2024-11-01T22:50:41.046" v="326" actId="207"/>
          <ac:spMkLst>
            <pc:docMk/>
            <pc:sldMk cId="2745595283" sldId="266"/>
            <ac:spMk id="29" creationId="{4B8192C7-671A-12AB-97BE-1AFA51162F32}"/>
          </ac:spMkLst>
        </pc:spChg>
        <pc:spChg chg="del mod">
          <ac:chgData name="Jan K" userId="d066db4a5de46abf" providerId="LiveId" clId="{B1733AD1-BED1-4C71-B004-3296BFE0AA74}" dt="2024-11-01T22:27:25.660" v="140" actId="478"/>
          <ac:spMkLst>
            <pc:docMk/>
            <pc:sldMk cId="2745595283" sldId="266"/>
            <ac:spMk id="31" creationId="{1B6D537E-40E4-3C5E-5655-3A60119EF6A0}"/>
          </ac:spMkLst>
        </pc:spChg>
        <pc:spChg chg="mod">
          <ac:chgData name="Jan K" userId="d066db4a5de46abf" providerId="LiveId" clId="{B1733AD1-BED1-4C71-B004-3296BFE0AA74}" dt="2024-11-01T22:27:18.115" v="136" actId="207"/>
          <ac:spMkLst>
            <pc:docMk/>
            <pc:sldMk cId="2745595283" sldId="266"/>
            <ac:spMk id="32" creationId="{019256F8-97A7-20B9-D492-2CDDA5D69A04}"/>
          </ac:spMkLst>
        </pc:spChg>
        <pc:spChg chg="mod">
          <ac:chgData name="Jan K" userId="d066db4a5de46abf" providerId="LiveId" clId="{B1733AD1-BED1-4C71-B004-3296BFE0AA74}" dt="2024-11-01T22:27:32.511" v="141" actId="207"/>
          <ac:spMkLst>
            <pc:docMk/>
            <pc:sldMk cId="2745595283" sldId="266"/>
            <ac:spMk id="33" creationId="{743E542C-9184-D64C-5B3D-DA4BF39AB90A}"/>
          </ac:spMkLst>
        </pc:spChg>
        <pc:spChg chg="mod">
          <ac:chgData name="Jan K" userId="d066db4a5de46abf" providerId="LiveId" clId="{B1733AD1-BED1-4C71-B004-3296BFE0AA74}" dt="2024-11-01T22:27:04.809" v="134"/>
          <ac:spMkLst>
            <pc:docMk/>
            <pc:sldMk cId="2745595283" sldId="266"/>
            <ac:spMk id="34" creationId="{A3B2DFB6-C3CD-BDE7-70C3-62CE3D59F581}"/>
          </ac:spMkLst>
        </pc:spChg>
        <pc:spChg chg="del mod">
          <ac:chgData name="Jan K" userId="d066db4a5de46abf" providerId="LiveId" clId="{B1733AD1-BED1-4C71-B004-3296BFE0AA74}" dt="2024-11-01T22:27:20.513" v="137" actId="478"/>
          <ac:spMkLst>
            <pc:docMk/>
            <pc:sldMk cId="2745595283" sldId="266"/>
            <ac:spMk id="36" creationId="{3F00AEE9-2A47-324C-8B06-B8D40048BBCC}"/>
          </ac:spMkLst>
        </pc:spChg>
        <pc:spChg chg="mod">
          <ac:chgData name="Jan K" userId="d066db4a5de46abf" providerId="LiveId" clId="{B1733AD1-BED1-4C71-B004-3296BFE0AA74}" dt="2024-11-01T22:27:04.809" v="134"/>
          <ac:spMkLst>
            <pc:docMk/>
            <pc:sldMk cId="2745595283" sldId="266"/>
            <ac:spMk id="37" creationId="{AFAC5F3D-2D0B-47B9-D832-D6B1B5E1E8D9}"/>
          </ac:spMkLst>
        </pc:spChg>
        <pc:spChg chg="mod">
          <ac:chgData name="Jan K" userId="d066db4a5de46abf" providerId="LiveId" clId="{B1733AD1-BED1-4C71-B004-3296BFE0AA74}" dt="2024-11-01T22:27:04.809" v="134"/>
          <ac:spMkLst>
            <pc:docMk/>
            <pc:sldMk cId="2745595283" sldId="266"/>
            <ac:spMk id="38" creationId="{AD3D8E47-F322-57C3-2543-E804C4E73BB7}"/>
          </ac:spMkLst>
        </pc:spChg>
        <pc:spChg chg="mod">
          <ac:chgData name="Jan K" userId="d066db4a5de46abf" providerId="LiveId" clId="{B1733AD1-BED1-4C71-B004-3296BFE0AA74}" dt="2024-11-01T22:27:04.809" v="134"/>
          <ac:spMkLst>
            <pc:docMk/>
            <pc:sldMk cId="2745595283" sldId="266"/>
            <ac:spMk id="39" creationId="{AD36A598-7C77-9AD7-92DE-13E52B5C691D}"/>
          </ac:spMkLst>
        </pc:spChg>
        <pc:spChg chg="add mod">
          <ac:chgData name="Jan K" userId="d066db4a5de46abf" providerId="LiveId" clId="{B1733AD1-BED1-4C71-B004-3296BFE0AA74}" dt="2024-11-02T10:49:59.031" v="414" actId="1076"/>
          <ac:spMkLst>
            <pc:docMk/>
            <pc:sldMk cId="2745595283" sldId="266"/>
            <ac:spMk id="41" creationId="{0D22C06A-7224-CD9C-9EE3-4F59CE27D349}"/>
          </ac:spMkLst>
        </pc:spChg>
        <pc:spChg chg="mod">
          <ac:chgData name="Jan K" userId="d066db4a5de46abf" providerId="LiveId" clId="{B1733AD1-BED1-4C71-B004-3296BFE0AA74}" dt="2024-11-01T22:27:44.535" v="143"/>
          <ac:spMkLst>
            <pc:docMk/>
            <pc:sldMk cId="2745595283" sldId="266"/>
            <ac:spMk id="41" creationId="{4415C96F-6F03-35DB-55ED-873F3BE58275}"/>
          </ac:spMkLst>
        </pc:spChg>
        <pc:spChg chg="mod">
          <ac:chgData name="Jan K" userId="d066db4a5de46abf" providerId="LiveId" clId="{B1733AD1-BED1-4C71-B004-3296BFE0AA74}" dt="2024-11-01T22:27:44.535" v="143"/>
          <ac:spMkLst>
            <pc:docMk/>
            <pc:sldMk cId="2745595283" sldId="266"/>
            <ac:spMk id="42" creationId="{4F506482-6940-F94B-305C-1076D8D4FD6B}"/>
          </ac:spMkLst>
        </pc:spChg>
        <pc:spChg chg="add mod">
          <ac:chgData name="Jan K" userId="d066db4a5de46abf" providerId="LiveId" clId="{B1733AD1-BED1-4C71-B004-3296BFE0AA74}" dt="2024-11-02T10:51:06.175" v="447" actId="1076"/>
          <ac:spMkLst>
            <pc:docMk/>
            <pc:sldMk cId="2745595283" sldId="266"/>
            <ac:spMk id="42" creationId="{8D6BFA15-8565-B90E-E8A7-96408EC2DF2D}"/>
          </ac:spMkLst>
        </pc:spChg>
        <pc:spChg chg="mod">
          <ac:chgData name="Jan K" userId="d066db4a5de46abf" providerId="LiveId" clId="{B1733AD1-BED1-4C71-B004-3296BFE0AA74}" dt="2024-11-01T22:27:44.535" v="143"/>
          <ac:spMkLst>
            <pc:docMk/>
            <pc:sldMk cId="2745595283" sldId="266"/>
            <ac:spMk id="43" creationId="{1FA4C156-F9F0-7706-4988-810000F430D8}"/>
          </ac:spMkLst>
        </pc:spChg>
        <pc:spChg chg="mod">
          <ac:chgData name="Jan K" userId="d066db4a5de46abf" providerId="LiveId" clId="{B1733AD1-BED1-4C71-B004-3296BFE0AA74}" dt="2024-11-01T22:27:44.535" v="143"/>
          <ac:spMkLst>
            <pc:docMk/>
            <pc:sldMk cId="2745595283" sldId="266"/>
            <ac:spMk id="45" creationId="{192508FF-F418-F7DB-5B14-4E0686836471}"/>
          </ac:spMkLst>
        </pc:spChg>
        <pc:spChg chg="mod">
          <ac:chgData name="Jan K" userId="d066db4a5de46abf" providerId="LiveId" clId="{B1733AD1-BED1-4C71-B004-3296BFE0AA74}" dt="2024-11-01T22:27:44.535" v="143"/>
          <ac:spMkLst>
            <pc:docMk/>
            <pc:sldMk cId="2745595283" sldId="266"/>
            <ac:spMk id="46" creationId="{6ACCB09B-F92B-2C0F-9A1E-D145B33638D9}"/>
          </ac:spMkLst>
        </pc:spChg>
        <pc:spChg chg="mod">
          <ac:chgData name="Jan K" userId="d066db4a5de46abf" providerId="LiveId" clId="{B1733AD1-BED1-4C71-B004-3296BFE0AA74}" dt="2024-11-01T22:27:44.535" v="143"/>
          <ac:spMkLst>
            <pc:docMk/>
            <pc:sldMk cId="2745595283" sldId="266"/>
            <ac:spMk id="47" creationId="{C9B78A28-6841-B33F-FFC7-8B7EF3B1D69D}"/>
          </ac:spMkLst>
        </pc:spChg>
        <pc:spChg chg="mod">
          <ac:chgData name="Jan K" userId="d066db4a5de46abf" providerId="LiveId" clId="{B1733AD1-BED1-4C71-B004-3296BFE0AA74}" dt="2024-11-01T22:28:09.284" v="151" actId="207"/>
          <ac:spMkLst>
            <pc:docMk/>
            <pc:sldMk cId="2745595283" sldId="266"/>
            <ac:spMk id="49" creationId="{20E65A85-A9E4-1629-D8A4-235BFC1E987C}"/>
          </ac:spMkLst>
        </pc:spChg>
        <pc:spChg chg="mod">
          <ac:chgData name="Jan K" userId="d066db4a5de46abf" providerId="LiveId" clId="{B1733AD1-BED1-4C71-B004-3296BFE0AA74}" dt="2024-11-01T22:27:50.215" v="146"/>
          <ac:spMkLst>
            <pc:docMk/>
            <pc:sldMk cId="2745595283" sldId="266"/>
            <ac:spMk id="50" creationId="{7C5D3898-5AC5-9D50-DE41-F7EBA5BB6EE0}"/>
          </ac:spMkLst>
        </pc:spChg>
        <pc:spChg chg="mod">
          <ac:chgData name="Jan K" userId="d066db4a5de46abf" providerId="LiveId" clId="{B1733AD1-BED1-4C71-B004-3296BFE0AA74}" dt="2024-11-01T22:28:04.439" v="149" actId="207"/>
          <ac:spMkLst>
            <pc:docMk/>
            <pc:sldMk cId="2745595283" sldId="266"/>
            <ac:spMk id="51" creationId="{7E67AEB6-DAD0-46EB-016C-953B8A4C4442}"/>
          </ac:spMkLst>
        </pc:spChg>
        <pc:spChg chg="mod">
          <ac:chgData name="Jan K" userId="d066db4a5de46abf" providerId="LiveId" clId="{B1733AD1-BED1-4C71-B004-3296BFE0AA74}" dt="2024-11-01T22:28:13.157" v="152" actId="207"/>
          <ac:spMkLst>
            <pc:docMk/>
            <pc:sldMk cId="2745595283" sldId="266"/>
            <ac:spMk id="52" creationId="{32BA937B-1859-3EF0-C301-7E57132857FF}"/>
          </ac:spMkLst>
        </pc:spChg>
        <pc:spChg chg="mod">
          <ac:chgData name="Jan K" userId="d066db4a5de46abf" providerId="LiveId" clId="{B1733AD1-BED1-4C71-B004-3296BFE0AA74}" dt="2024-11-01T22:27:50.215" v="146"/>
          <ac:spMkLst>
            <pc:docMk/>
            <pc:sldMk cId="2745595283" sldId="266"/>
            <ac:spMk id="54" creationId="{FD942769-47C7-19B4-3C8C-1B211460B8FB}"/>
          </ac:spMkLst>
        </pc:spChg>
        <pc:spChg chg="mod">
          <ac:chgData name="Jan K" userId="d066db4a5de46abf" providerId="LiveId" clId="{B1733AD1-BED1-4C71-B004-3296BFE0AA74}" dt="2024-11-01T22:27:50.215" v="146"/>
          <ac:spMkLst>
            <pc:docMk/>
            <pc:sldMk cId="2745595283" sldId="266"/>
            <ac:spMk id="55" creationId="{CEFC531A-A8A2-DB67-5637-CBACD444207D}"/>
          </ac:spMkLst>
        </pc:spChg>
        <pc:spChg chg="mod">
          <ac:chgData name="Jan K" userId="d066db4a5de46abf" providerId="LiveId" clId="{B1733AD1-BED1-4C71-B004-3296BFE0AA74}" dt="2024-11-01T22:27:50.215" v="146"/>
          <ac:spMkLst>
            <pc:docMk/>
            <pc:sldMk cId="2745595283" sldId="266"/>
            <ac:spMk id="56" creationId="{59B63754-D51B-9A09-F2A7-9FEF0F608E70}"/>
          </ac:spMkLst>
        </pc:spChg>
        <pc:spChg chg="mod">
          <ac:chgData name="Jan K" userId="d066db4a5de46abf" providerId="LiveId" clId="{B1733AD1-BED1-4C71-B004-3296BFE0AA74}" dt="2024-11-01T22:27:50.215" v="146"/>
          <ac:spMkLst>
            <pc:docMk/>
            <pc:sldMk cId="2745595283" sldId="266"/>
            <ac:spMk id="57" creationId="{95035C39-CED8-83C8-A3DA-DDF95F08C8CE}"/>
          </ac:spMkLst>
        </pc:spChg>
        <pc:spChg chg="add mod">
          <ac:chgData name="Jan K" userId="d066db4a5de46abf" providerId="LiveId" clId="{B1733AD1-BED1-4C71-B004-3296BFE0AA74}" dt="2024-11-01T22:49:17.856" v="301" actId="1076"/>
          <ac:spMkLst>
            <pc:docMk/>
            <pc:sldMk cId="2745595283" sldId="266"/>
            <ac:spMk id="59" creationId="{B7F0CB44-35CE-366A-D4CB-5E5575129DD6}"/>
          </ac:spMkLst>
        </pc:spChg>
        <pc:spChg chg="mod">
          <ac:chgData name="Jan K" userId="d066db4a5de46abf" providerId="LiveId" clId="{B1733AD1-BED1-4C71-B004-3296BFE0AA74}" dt="2024-11-01T22:41:57.856" v="263"/>
          <ac:spMkLst>
            <pc:docMk/>
            <pc:sldMk cId="2745595283" sldId="266"/>
            <ac:spMk id="2068" creationId="{CE97F6DB-2568-671E-220A-3194ED9E12AC}"/>
          </ac:spMkLst>
        </pc:spChg>
        <pc:spChg chg="mod">
          <ac:chgData name="Jan K" userId="d066db4a5de46abf" providerId="LiveId" clId="{B1733AD1-BED1-4C71-B004-3296BFE0AA74}" dt="2024-11-01T22:41:57.856" v="263"/>
          <ac:spMkLst>
            <pc:docMk/>
            <pc:sldMk cId="2745595283" sldId="266"/>
            <ac:spMk id="2069" creationId="{A0412251-57CF-AB45-320B-4561D3549322}"/>
          </ac:spMkLst>
        </pc:spChg>
        <pc:spChg chg="mod">
          <ac:chgData name="Jan K" userId="d066db4a5de46abf" providerId="LiveId" clId="{B1733AD1-BED1-4C71-B004-3296BFE0AA74}" dt="2024-11-01T22:41:57.856" v="263"/>
          <ac:spMkLst>
            <pc:docMk/>
            <pc:sldMk cId="2745595283" sldId="266"/>
            <ac:spMk id="2070" creationId="{54064BC7-45BC-E569-8C2D-20B1C21417AD}"/>
          </ac:spMkLst>
        </pc:spChg>
        <pc:spChg chg="mod">
          <ac:chgData name="Jan K" userId="d066db4a5de46abf" providerId="LiveId" clId="{B1733AD1-BED1-4C71-B004-3296BFE0AA74}" dt="2024-11-01T22:41:57.856" v="263"/>
          <ac:spMkLst>
            <pc:docMk/>
            <pc:sldMk cId="2745595283" sldId="266"/>
            <ac:spMk id="2071" creationId="{0BE0DF51-3C5B-F531-E249-E82C2887A379}"/>
          </ac:spMkLst>
        </pc:spChg>
        <pc:spChg chg="mod">
          <ac:chgData name="Jan K" userId="d066db4a5de46abf" providerId="LiveId" clId="{B1733AD1-BED1-4C71-B004-3296BFE0AA74}" dt="2024-11-01T22:41:57.856" v="263"/>
          <ac:spMkLst>
            <pc:docMk/>
            <pc:sldMk cId="2745595283" sldId="266"/>
            <ac:spMk id="2073" creationId="{3272FDCE-A722-05C0-4DF7-0F4E0834DE09}"/>
          </ac:spMkLst>
        </pc:spChg>
        <pc:spChg chg="mod">
          <ac:chgData name="Jan K" userId="d066db4a5de46abf" providerId="LiveId" clId="{B1733AD1-BED1-4C71-B004-3296BFE0AA74}" dt="2024-11-01T22:41:57.856" v="263"/>
          <ac:spMkLst>
            <pc:docMk/>
            <pc:sldMk cId="2745595283" sldId="266"/>
            <ac:spMk id="2074" creationId="{BE02EFDC-9968-8FD4-5E05-EF9940A72257}"/>
          </ac:spMkLst>
        </pc:spChg>
        <pc:spChg chg="mod">
          <ac:chgData name="Jan K" userId="d066db4a5de46abf" providerId="LiveId" clId="{B1733AD1-BED1-4C71-B004-3296BFE0AA74}" dt="2024-11-01T22:41:57.856" v="263"/>
          <ac:spMkLst>
            <pc:docMk/>
            <pc:sldMk cId="2745595283" sldId="266"/>
            <ac:spMk id="2075" creationId="{73577D34-4178-99E9-19E2-462EFF30642F}"/>
          </ac:spMkLst>
        </pc:spChg>
        <pc:spChg chg="mod">
          <ac:chgData name="Jan K" userId="d066db4a5de46abf" providerId="LiveId" clId="{B1733AD1-BED1-4C71-B004-3296BFE0AA74}" dt="2024-11-01T22:41:57.856" v="263"/>
          <ac:spMkLst>
            <pc:docMk/>
            <pc:sldMk cId="2745595283" sldId="266"/>
            <ac:spMk id="2076" creationId="{84614F9C-D1D7-299B-AF0B-66D1E715D5D5}"/>
          </ac:spMkLst>
        </pc:spChg>
        <pc:spChg chg="mod">
          <ac:chgData name="Jan K" userId="d066db4a5de46abf" providerId="LiveId" clId="{B1733AD1-BED1-4C71-B004-3296BFE0AA74}" dt="2024-11-01T22:51:09.711" v="330" actId="1076"/>
          <ac:spMkLst>
            <pc:docMk/>
            <pc:sldMk cId="2745595283" sldId="266"/>
            <ac:spMk id="2078" creationId="{B8F9347A-0F34-638C-982B-88A8C8C4D9B7}"/>
          </ac:spMkLst>
        </pc:spChg>
        <pc:spChg chg="del mod">
          <ac:chgData name="Jan K" userId="d066db4a5de46abf" providerId="LiveId" clId="{B1733AD1-BED1-4C71-B004-3296BFE0AA74}" dt="2024-11-01T22:48:52.672" v="297" actId="478"/>
          <ac:spMkLst>
            <pc:docMk/>
            <pc:sldMk cId="2745595283" sldId="266"/>
            <ac:spMk id="2079" creationId="{591DC60B-35D8-0B1C-EE63-85F36C85D95C}"/>
          </ac:spMkLst>
        </pc:spChg>
        <pc:spChg chg="del mod">
          <ac:chgData name="Jan K" userId="d066db4a5de46abf" providerId="LiveId" clId="{B1733AD1-BED1-4C71-B004-3296BFE0AA74}" dt="2024-11-01T22:48:42.047" v="293" actId="478"/>
          <ac:spMkLst>
            <pc:docMk/>
            <pc:sldMk cId="2745595283" sldId="266"/>
            <ac:spMk id="2080" creationId="{C8C8D864-F327-D730-D53A-F5C4A8912268}"/>
          </ac:spMkLst>
        </pc:spChg>
        <pc:spChg chg="mod">
          <ac:chgData name="Jan K" userId="d066db4a5de46abf" providerId="LiveId" clId="{B1733AD1-BED1-4C71-B004-3296BFE0AA74}" dt="2024-11-01T22:48:15.759" v="292" actId="207"/>
          <ac:spMkLst>
            <pc:docMk/>
            <pc:sldMk cId="2745595283" sldId="266"/>
            <ac:spMk id="2081" creationId="{D5C2618F-A279-A777-FF35-ACB8596E995E}"/>
          </ac:spMkLst>
        </pc:spChg>
        <pc:spChg chg="mod">
          <ac:chgData name="Jan K" userId="d066db4a5de46abf" providerId="LiveId" clId="{B1733AD1-BED1-4C71-B004-3296BFE0AA74}" dt="2024-11-01T22:51:09.711" v="330" actId="1076"/>
          <ac:spMkLst>
            <pc:docMk/>
            <pc:sldMk cId="2745595283" sldId="266"/>
            <ac:spMk id="2083" creationId="{E1238188-43A5-A98D-039C-777279018ECF}"/>
          </ac:spMkLst>
        </pc:spChg>
        <pc:spChg chg="del mod">
          <ac:chgData name="Jan K" userId="d066db4a5de46abf" providerId="LiveId" clId="{B1733AD1-BED1-4C71-B004-3296BFE0AA74}" dt="2024-11-01T22:48:46.385" v="295" actId="478"/>
          <ac:spMkLst>
            <pc:docMk/>
            <pc:sldMk cId="2745595283" sldId="266"/>
            <ac:spMk id="2084" creationId="{0E7CCFA9-19E3-1ED5-0264-B078A7733F5E}"/>
          </ac:spMkLst>
        </pc:spChg>
        <pc:spChg chg="del mod">
          <ac:chgData name="Jan K" userId="d066db4a5de46abf" providerId="LiveId" clId="{B1733AD1-BED1-4C71-B004-3296BFE0AA74}" dt="2024-11-01T22:48:44.454" v="294" actId="478"/>
          <ac:spMkLst>
            <pc:docMk/>
            <pc:sldMk cId="2745595283" sldId="266"/>
            <ac:spMk id="2085" creationId="{28EA1906-E128-BF53-0981-3730B1E50A11}"/>
          </ac:spMkLst>
        </pc:spChg>
        <pc:spChg chg="mod">
          <ac:chgData name="Jan K" userId="d066db4a5de46abf" providerId="LiveId" clId="{B1733AD1-BED1-4C71-B004-3296BFE0AA74}" dt="2024-11-01T22:44:37.655" v="268"/>
          <ac:spMkLst>
            <pc:docMk/>
            <pc:sldMk cId="2745595283" sldId="266"/>
            <ac:spMk id="2086" creationId="{0C957B10-D175-686E-4E9E-9C24D733B1F2}"/>
          </ac:spMkLst>
        </pc:spChg>
        <pc:spChg chg="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14" creationId="{55C15780-C646-E753-8728-8A910A584D28}"/>
          </ac:spMkLst>
        </pc:spChg>
        <pc:spChg chg="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15" creationId="{587521D3-B567-17A8-AE58-89A84733E9DC}"/>
          </ac:spMkLst>
        </pc:spChg>
        <pc:spChg chg="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16" creationId="{A0D9FE08-638E-A84C-DEC2-1F4F7D3A8AA8}"/>
          </ac:spMkLst>
        </pc:spChg>
        <pc:spChg chg="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17" creationId="{A7208FF8-25CE-FF95-7FD2-60F8B555F344}"/>
          </ac:spMkLst>
        </pc:spChg>
        <pc:spChg chg="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19" creationId="{9E243B49-B5B8-3D53-9391-7E25DFFF5FCD}"/>
          </ac:spMkLst>
        </pc:spChg>
        <pc:spChg chg="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20" creationId="{6800161B-3C29-D2CC-C652-996A12AF1A87}"/>
          </ac:spMkLst>
        </pc:spChg>
        <pc:spChg chg="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21" creationId="{FD4FAF56-12B6-2C0A-3B3A-D3B2EC48CA9C}"/>
          </ac:spMkLst>
        </pc:spChg>
        <pc:spChg chg="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22" creationId="{B8D9E695-2912-13E8-7889-3406CD5E2BA2}"/>
          </ac:spMkLst>
        </pc:spChg>
        <pc:spChg chg="add 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23" creationId="{95633BF5-1D02-D96E-757E-450D16056520}"/>
          </ac:spMkLst>
        </pc:spChg>
        <pc:spChg chg="mod">
          <ac:chgData name="Jan K" userId="d066db4a5de46abf" providerId="LiveId" clId="{B1733AD1-BED1-4C71-B004-3296BFE0AA74}" dt="2024-11-01T23:00:29.956" v="384" actId="207"/>
          <ac:spMkLst>
            <pc:docMk/>
            <pc:sldMk cId="2745595283" sldId="266"/>
            <ac:spMk id="2139" creationId="{2AD9E10B-DA0C-EECD-E13B-C39AF5912B3C}"/>
          </ac:spMkLst>
        </pc:spChg>
        <pc:spChg chg="mod">
          <ac:chgData name="Jan K" userId="d066db4a5de46abf" providerId="LiveId" clId="{B1733AD1-BED1-4C71-B004-3296BFE0AA74}" dt="2024-11-01T23:00:25.897" v="383" actId="207"/>
          <ac:spMkLst>
            <pc:docMk/>
            <pc:sldMk cId="2745595283" sldId="266"/>
            <ac:spMk id="2140" creationId="{65CB9C60-8AE0-851B-702B-5FE829EEEFC4}"/>
          </ac:spMkLst>
        </pc:spChg>
        <pc:spChg chg="mod">
          <ac:chgData name="Jan K" userId="d066db4a5de46abf" providerId="LiveId" clId="{B1733AD1-BED1-4C71-B004-3296BFE0AA74}" dt="2024-11-01T23:00:14.927" v="381"/>
          <ac:spMkLst>
            <pc:docMk/>
            <pc:sldMk cId="2745595283" sldId="266"/>
            <ac:spMk id="2141" creationId="{F6601568-687E-8C3F-670F-02CED37F3EDE}"/>
          </ac:spMkLst>
        </pc:spChg>
        <pc:spChg chg="mod">
          <ac:chgData name="Jan K" userId="d066db4a5de46abf" providerId="LiveId" clId="{B1733AD1-BED1-4C71-B004-3296BFE0AA74}" dt="2024-11-01T23:00:14.927" v="381"/>
          <ac:spMkLst>
            <pc:docMk/>
            <pc:sldMk cId="2745595283" sldId="266"/>
            <ac:spMk id="2143" creationId="{8B71310B-3377-CC20-64D0-E1E5BF7B19FC}"/>
          </ac:spMkLst>
        </pc:spChg>
        <pc:spChg chg="mod">
          <ac:chgData name="Jan K" userId="d066db4a5de46abf" providerId="LiveId" clId="{B1733AD1-BED1-4C71-B004-3296BFE0AA74}" dt="2024-11-01T23:00:14.927" v="381"/>
          <ac:spMkLst>
            <pc:docMk/>
            <pc:sldMk cId="2745595283" sldId="266"/>
            <ac:spMk id="2144" creationId="{7879D1F5-09B0-992C-D234-0EC54A6D34F6}"/>
          </ac:spMkLst>
        </pc:spChg>
        <pc:spChg chg="mod">
          <ac:chgData name="Jan K" userId="d066db4a5de46abf" providerId="LiveId" clId="{B1733AD1-BED1-4C71-B004-3296BFE0AA74}" dt="2024-11-01T23:00:14.927" v="381"/>
          <ac:spMkLst>
            <pc:docMk/>
            <pc:sldMk cId="2745595283" sldId="266"/>
            <ac:spMk id="2145" creationId="{B31813D3-CD97-7928-5678-14A8AF6820F8}"/>
          </ac:spMkLst>
        </pc:spChg>
        <pc:grpChg chg="add mod">
          <ac:chgData name="Jan K" userId="d066db4a5de46abf" providerId="LiveId" clId="{B1733AD1-BED1-4C71-B004-3296BFE0AA74}" dt="2024-11-01T22:22:58.517" v="97" actId="164"/>
          <ac:grpSpMkLst>
            <pc:docMk/>
            <pc:sldMk cId="2745595283" sldId="266"/>
            <ac:grpSpMk id="13" creationId="{6D5CF2C5-A8A7-6044-330A-4D952ECE69C5}"/>
          </ac:grpSpMkLst>
        </pc:grpChg>
        <pc:grpChg chg="add mod">
          <ac:chgData name="Jan K" userId="d066db4a5de46abf" providerId="LiveId" clId="{B1733AD1-BED1-4C71-B004-3296BFE0AA74}" dt="2024-11-01T22:28:53.638" v="159" actId="1076"/>
          <ac:grpSpMkLst>
            <pc:docMk/>
            <pc:sldMk cId="2745595283" sldId="266"/>
            <ac:grpSpMk id="17" creationId="{28E1B3BC-B84A-487C-2416-D2E1290FF478}"/>
          </ac:grpSpMkLst>
        </pc:grpChg>
        <pc:grpChg chg="add mod">
          <ac:chgData name="Jan K" userId="d066db4a5de46abf" providerId="LiveId" clId="{B1733AD1-BED1-4C71-B004-3296BFE0AA74}" dt="2024-11-01T22:29:09.062" v="160" actId="1076"/>
          <ac:grpSpMkLst>
            <pc:docMk/>
            <pc:sldMk cId="2745595283" sldId="266"/>
            <ac:grpSpMk id="18" creationId="{4D3739A8-6735-04AB-D5BE-38E29C9260CE}"/>
          </ac:grpSpMkLst>
        </pc:grpChg>
        <pc:grpChg chg="mod">
          <ac:chgData name="Jan K" userId="d066db4a5de46abf" providerId="LiveId" clId="{B1733AD1-BED1-4C71-B004-3296BFE0AA74}" dt="2024-11-01T22:23:08.264" v="98"/>
          <ac:grpSpMkLst>
            <pc:docMk/>
            <pc:sldMk cId="2745595283" sldId="266"/>
            <ac:grpSpMk id="23" creationId="{399F1B54-0AAE-C650-09EF-D196DD25DE2A}"/>
          </ac:grpSpMkLst>
        </pc:grpChg>
        <pc:grpChg chg="add del mod">
          <ac:chgData name="Jan K" userId="d066db4a5de46abf" providerId="LiveId" clId="{B1733AD1-BED1-4C71-B004-3296BFE0AA74}" dt="2024-11-01T23:05:42.626" v="393" actId="1076"/>
          <ac:grpSpMkLst>
            <pc:docMk/>
            <pc:sldMk cId="2745595283" sldId="266"/>
            <ac:grpSpMk id="30" creationId="{6371556F-5419-FF68-A148-F1684B6D8705}"/>
          </ac:grpSpMkLst>
        </pc:grpChg>
        <pc:grpChg chg="mod">
          <ac:chgData name="Jan K" userId="d066db4a5de46abf" providerId="LiveId" clId="{B1733AD1-BED1-4C71-B004-3296BFE0AA74}" dt="2024-11-01T22:27:04.809" v="134"/>
          <ac:grpSpMkLst>
            <pc:docMk/>
            <pc:sldMk cId="2745595283" sldId="266"/>
            <ac:grpSpMk id="35" creationId="{A7AE47DF-F4DA-1800-7386-DBC762AE23DA}"/>
          </ac:grpSpMkLst>
        </pc:grpChg>
        <pc:grpChg chg="add del mod">
          <ac:chgData name="Jan K" userId="d066db4a5de46abf" providerId="LiveId" clId="{B1733AD1-BED1-4C71-B004-3296BFE0AA74}" dt="2024-11-01T22:27:46.316" v="145" actId="478"/>
          <ac:grpSpMkLst>
            <pc:docMk/>
            <pc:sldMk cId="2745595283" sldId="266"/>
            <ac:grpSpMk id="40" creationId="{CF19DE78-E9A2-DDF3-7E34-30C44D6A0442}"/>
          </ac:grpSpMkLst>
        </pc:grpChg>
        <pc:grpChg chg="mod">
          <ac:chgData name="Jan K" userId="d066db4a5de46abf" providerId="LiveId" clId="{B1733AD1-BED1-4C71-B004-3296BFE0AA74}" dt="2024-11-01T22:27:44.535" v="143"/>
          <ac:grpSpMkLst>
            <pc:docMk/>
            <pc:sldMk cId="2745595283" sldId="266"/>
            <ac:grpSpMk id="44" creationId="{966DD93B-22D5-3699-64A5-8D3C3161199A}"/>
          </ac:grpSpMkLst>
        </pc:grpChg>
        <pc:grpChg chg="add mod">
          <ac:chgData name="Jan K" userId="d066db4a5de46abf" providerId="LiveId" clId="{B1733AD1-BED1-4C71-B004-3296BFE0AA74}" dt="2024-11-01T22:49:17.856" v="301" actId="1076"/>
          <ac:grpSpMkLst>
            <pc:docMk/>
            <pc:sldMk cId="2745595283" sldId="266"/>
            <ac:grpSpMk id="48" creationId="{94EFD9F7-BF2C-479C-AE62-17DC73E93C75}"/>
          </ac:grpSpMkLst>
        </pc:grpChg>
        <pc:grpChg chg="mod">
          <ac:chgData name="Jan K" userId="d066db4a5de46abf" providerId="LiveId" clId="{B1733AD1-BED1-4C71-B004-3296BFE0AA74}" dt="2024-11-01T22:27:50.215" v="146"/>
          <ac:grpSpMkLst>
            <pc:docMk/>
            <pc:sldMk cId="2745595283" sldId="266"/>
            <ac:grpSpMk id="53" creationId="{368A34C8-6AEA-2048-F9A3-DE7E9EFB7C1E}"/>
          </ac:grpSpMkLst>
        </pc:grpChg>
        <pc:grpChg chg="add mod">
          <ac:chgData name="Jan K" userId="d066db4a5de46abf" providerId="LiveId" clId="{B1733AD1-BED1-4C71-B004-3296BFE0AA74}" dt="2024-11-01T22:46:33.496" v="276" actId="1076"/>
          <ac:grpSpMkLst>
            <pc:docMk/>
            <pc:sldMk cId="2745595283" sldId="266"/>
            <ac:grpSpMk id="2067" creationId="{D684337F-7D8D-4C78-EA91-DB0F695473FD}"/>
          </ac:grpSpMkLst>
        </pc:grpChg>
        <pc:grpChg chg="mod">
          <ac:chgData name="Jan K" userId="d066db4a5de46abf" providerId="LiveId" clId="{B1733AD1-BED1-4C71-B004-3296BFE0AA74}" dt="2024-11-01T22:41:57.856" v="263"/>
          <ac:grpSpMkLst>
            <pc:docMk/>
            <pc:sldMk cId="2745595283" sldId="266"/>
            <ac:grpSpMk id="2072" creationId="{D878DC87-C9AF-03FF-553E-91861B159672}"/>
          </ac:grpSpMkLst>
        </pc:grpChg>
        <pc:grpChg chg="add mod ord">
          <ac:chgData name="Jan K" userId="d066db4a5de46abf" providerId="LiveId" clId="{B1733AD1-BED1-4C71-B004-3296BFE0AA74}" dt="2024-11-01T22:50:54.640" v="328" actId="166"/>
          <ac:grpSpMkLst>
            <pc:docMk/>
            <pc:sldMk cId="2745595283" sldId="266"/>
            <ac:grpSpMk id="2077" creationId="{E58F6E4C-3247-0908-EC95-591274968F6B}"/>
          </ac:grpSpMkLst>
        </pc:grpChg>
        <pc:grpChg chg="mod">
          <ac:chgData name="Jan K" userId="d066db4a5de46abf" providerId="LiveId" clId="{B1733AD1-BED1-4C71-B004-3296BFE0AA74}" dt="2024-11-01T22:44:37.655" v="268"/>
          <ac:grpSpMkLst>
            <pc:docMk/>
            <pc:sldMk cId="2745595283" sldId="266"/>
            <ac:grpSpMk id="2082" creationId="{065EFA8F-9EBF-59BA-0019-501C71F12164}"/>
          </ac:grpSpMkLst>
        </pc:grpChg>
        <pc:grpChg chg="add mod">
          <ac:chgData name="Jan K" userId="d066db4a5de46abf" providerId="LiveId" clId="{B1733AD1-BED1-4C71-B004-3296BFE0AA74}" dt="2024-11-02T10:49:38.867" v="408" actId="1076"/>
          <ac:grpSpMkLst>
            <pc:docMk/>
            <pc:sldMk cId="2745595283" sldId="266"/>
            <ac:grpSpMk id="2113" creationId="{C8B0D7CE-FB95-5416-F77A-574A2D8AB288}"/>
          </ac:grpSpMkLst>
        </pc:grpChg>
        <pc:grpChg chg="mod">
          <ac:chgData name="Jan K" userId="d066db4a5de46abf" providerId="LiveId" clId="{B1733AD1-BED1-4C71-B004-3296BFE0AA74}" dt="2024-11-02T10:49:38.867" v="408" actId="1076"/>
          <ac:grpSpMkLst>
            <pc:docMk/>
            <pc:sldMk cId="2745595283" sldId="266"/>
            <ac:grpSpMk id="2118" creationId="{3339692A-79C7-FA70-10D4-6E689FB73FD3}"/>
          </ac:grpSpMkLst>
        </pc:grpChg>
        <pc:grpChg chg="add mod">
          <ac:chgData name="Jan K" userId="d066db4a5de46abf" providerId="LiveId" clId="{B1733AD1-BED1-4C71-B004-3296BFE0AA74}" dt="2024-11-01T23:05:50.450" v="394" actId="1076"/>
          <ac:grpSpMkLst>
            <pc:docMk/>
            <pc:sldMk cId="2745595283" sldId="266"/>
            <ac:grpSpMk id="2138" creationId="{A713250C-EB1B-EB43-71CB-85151AC58E41}"/>
          </ac:grpSpMkLst>
        </pc:grpChg>
        <pc:grpChg chg="mod">
          <ac:chgData name="Jan K" userId="d066db4a5de46abf" providerId="LiveId" clId="{B1733AD1-BED1-4C71-B004-3296BFE0AA74}" dt="2024-11-01T23:00:14.927" v="381"/>
          <ac:grpSpMkLst>
            <pc:docMk/>
            <pc:sldMk cId="2745595283" sldId="266"/>
            <ac:grpSpMk id="2142" creationId="{3EE5C3A6-BEC7-C4CC-00B0-5FF83873F80F}"/>
          </ac:grpSpMkLst>
        </pc:grpChg>
        <pc:picChg chg="mod">
          <ac:chgData name="Jan K" userId="d066db4a5de46abf" providerId="LiveId" clId="{B1733AD1-BED1-4C71-B004-3296BFE0AA74}" dt="2024-11-01T22:50:17.214" v="321" actId="14100"/>
          <ac:picMkLst>
            <pc:docMk/>
            <pc:sldMk cId="2745595283" sldId="266"/>
            <ac:picMk id="4" creationId="{E7563F9F-F97A-05A2-DBCC-D168B7B3D623}"/>
          </ac:picMkLst>
        </pc:picChg>
        <pc:picChg chg="mod">
          <ac:chgData name="Jan K" userId="d066db4a5de46abf" providerId="LiveId" clId="{B1733AD1-BED1-4C71-B004-3296BFE0AA74}" dt="2024-11-01T22:15:09.216" v="5" actId="1076"/>
          <ac:picMkLst>
            <pc:docMk/>
            <pc:sldMk cId="2745595283" sldId="266"/>
            <ac:picMk id="5" creationId="{F7A4AF17-865B-D4DF-3D3E-D5BAD7B799D8}"/>
          </ac:picMkLst>
        </pc:picChg>
        <pc:picChg chg="add mod">
          <ac:chgData name="Jan K" userId="d066db4a5de46abf" providerId="LiveId" clId="{B1733AD1-BED1-4C71-B004-3296BFE0AA74}" dt="2024-11-02T10:49:38.867" v="408" actId="1076"/>
          <ac:picMkLst>
            <pc:docMk/>
            <pc:sldMk cId="2745595283" sldId="266"/>
            <ac:picMk id="58" creationId="{7367BCA0-D8D4-1CA0-B396-21407806CA45}"/>
          </ac:picMkLst>
        </pc:picChg>
        <pc:picChg chg="add mod">
          <ac:chgData name="Jan K" userId="d066db4a5de46abf" providerId="LiveId" clId="{B1733AD1-BED1-4C71-B004-3296BFE0AA74}" dt="2024-11-02T10:51:17.683" v="449" actId="1076"/>
          <ac:picMkLst>
            <pc:docMk/>
            <pc:sldMk cId="2745595283" sldId="266"/>
            <ac:picMk id="2050" creationId="{38B91090-F730-6429-AC77-6AEE19671DD8}"/>
          </ac:picMkLst>
        </pc:picChg>
        <pc:cxnChg chg="add mod">
          <ac:chgData name="Jan K" userId="d066db4a5de46abf" providerId="LiveId" clId="{B1733AD1-BED1-4C71-B004-3296BFE0AA74}" dt="2024-11-02T10:49:42.487" v="409" actId="14100"/>
          <ac:cxnSpMkLst>
            <pc:docMk/>
            <pc:sldMk cId="2745595283" sldId="266"/>
            <ac:cxnSpMk id="2" creationId="{05834252-5EC0-8F8C-57F0-74CEFBCE5C75}"/>
          </ac:cxnSpMkLst>
        </pc:cxnChg>
        <pc:cxnChg chg="add mod">
          <ac:chgData name="Jan K" userId="d066db4a5de46abf" providerId="LiveId" clId="{B1733AD1-BED1-4C71-B004-3296BFE0AA74}" dt="2024-11-01T22:16:04.240" v="12" actId="1582"/>
          <ac:cxnSpMkLst>
            <pc:docMk/>
            <pc:sldMk cId="2745595283" sldId="266"/>
            <ac:cxnSpMk id="3" creationId="{7BAC3796-7EA7-A720-334C-417FCEE30446}"/>
          </ac:cxnSpMkLst>
        </pc:cxnChg>
        <pc:cxnChg chg="add mod">
          <ac:chgData name="Jan K" userId="d066db4a5de46abf" providerId="LiveId" clId="{B1733AD1-BED1-4C71-B004-3296BFE0AA74}" dt="2024-11-01T22:40:05.867" v="261" actId="1076"/>
          <ac:cxnSpMkLst>
            <pc:docMk/>
            <pc:sldMk cId="2745595283" sldId="266"/>
            <ac:cxnSpMk id="6" creationId="{A973B31F-62DA-FBF9-5798-5357B0103687}"/>
          </ac:cxnSpMkLst>
        </pc:cxnChg>
        <pc:cxnChg chg="add mod">
          <ac:chgData name="Jan K" userId="d066db4a5de46abf" providerId="LiveId" clId="{B1733AD1-BED1-4C71-B004-3296BFE0AA74}" dt="2024-11-02T10:52:06.926" v="452" actId="14100"/>
          <ac:cxnSpMkLst>
            <pc:docMk/>
            <pc:sldMk cId="2745595283" sldId="266"/>
            <ac:cxnSpMk id="43" creationId="{594B7745-774B-FECF-821A-D6F2BFC145B2}"/>
          </ac:cxnSpMkLst>
        </pc:cxnChg>
        <pc:cxnChg chg="add mod">
          <ac:chgData name="Jan K" userId="d066db4a5de46abf" providerId="LiveId" clId="{B1733AD1-BED1-4C71-B004-3296BFE0AA74}" dt="2024-11-02T10:50:52.133" v="445" actId="14100"/>
          <ac:cxnSpMkLst>
            <pc:docMk/>
            <pc:sldMk cId="2745595283" sldId="266"/>
            <ac:cxnSpMk id="47" creationId="{954BB559-959D-A3B6-8666-9A8E8A5C9B6F}"/>
          </ac:cxnSpMkLst>
        </pc:cxnChg>
        <pc:cxnChg chg="add mod">
          <ac:chgData name="Jan K" userId="d066db4a5de46abf" providerId="LiveId" clId="{B1733AD1-BED1-4C71-B004-3296BFE0AA74}" dt="2024-11-01T22:39:51.778" v="260" actId="14100"/>
          <ac:cxnSpMkLst>
            <pc:docMk/>
            <pc:sldMk cId="2745595283" sldId="266"/>
            <ac:cxnSpMk id="2048" creationId="{912275B6-3E85-59C4-6095-E01AEF8FB4A0}"/>
          </ac:cxnSpMkLst>
        </pc:cxnChg>
        <pc:cxnChg chg="add mod">
          <ac:chgData name="Jan K" userId="d066db4a5de46abf" providerId="LiveId" clId="{B1733AD1-BED1-4C71-B004-3296BFE0AA74}" dt="2024-11-01T22:40:16.411" v="262" actId="208"/>
          <ac:cxnSpMkLst>
            <pc:docMk/>
            <pc:sldMk cId="2745595283" sldId="266"/>
            <ac:cxnSpMk id="2051" creationId="{7CE7E800-5203-ACE0-60EB-A220F1B5BBBA}"/>
          </ac:cxnSpMkLst>
        </pc:cxnChg>
        <pc:cxnChg chg="add mod">
          <ac:chgData name="Jan K" userId="d066db4a5de46abf" providerId="LiveId" clId="{B1733AD1-BED1-4C71-B004-3296BFE0AA74}" dt="2024-11-02T10:51:26.038" v="450" actId="1076"/>
          <ac:cxnSpMkLst>
            <pc:docMk/>
            <pc:sldMk cId="2745595283" sldId="266"/>
            <ac:cxnSpMk id="2059" creationId="{D9241F75-2E76-DAF3-0F9D-7A754CC2A1C3}"/>
          </ac:cxnSpMkLst>
        </pc:cxnChg>
        <pc:cxnChg chg="add mod">
          <ac:chgData name="Jan K" userId="d066db4a5de46abf" providerId="LiveId" clId="{B1733AD1-BED1-4C71-B004-3296BFE0AA74}" dt="2024-11-02T10:51:30.767" v="451" actId="14100"/>
          <ac:cxnSpMkLst>
            <pc:docMk/>
            <pc:sldMk cId="2745595283" sldId="266"/>
            <ac:cxnSpMk id="2061" creationId="{C93EB9E4-AD2A-954D-E2FA-982D6AD556D3}"/>
          </ac:cxnSpMkLst>
        </pc:cxnChg>
        <pc:cxnChg chg="add mod">
          <ac:chgData name="Jan K" userId="d066db4a5de46abf" providerId="LiveId" clId="{B1733AD1-BED1-4C71-B004-3296BFE0AA74}" dt="2024-11-01T22:49:49.374" v="312" actId="1038"/>
          <ac:cxnSpMkLst>
            <pc:docMk/>
            <pc:sldMk cId="2745595283" sldId="266"/>
            <ac:cxnSpMk id="2087" creationId="{CCC5E001-C494-4746-89D6-C431169BAD56}"/>
          </ac:cxnSpMkLst>
        </pc:cxnChg>
        <pc:cxnChg chg="add mod">
          <ac:chgData name="Jan K" userId="d066db4a5de46abf" providerId="LiveId" clId="{B1733AD1-BED1-4C71-B004-3296BFE0AA74}" dt="2024-11-01T22:50:59.583" v="329" actId="1076"/>
          <ac:cxnSpMkLst>
            <pc:docMk/>
            <pc:sldMk cId="2745595283" sldId="266"/>
            <ac:cxnSpMk id="2092" creationId="{9BB1AFB2-EAD4-3E56-776C-AF8FC63B78A4}"/>
          </ac:cxnSpMkLst>
        </pc:cxnChg>
        <pc:cxnChg chg="add mod">
          <ac:chgData name="Jan K" userId="d066db4a5de46abf" providerId="LiveId" clId="{B1733AD1-BED1-4C71-B004-3296BFE0AA74}" dt="2024-11-01T22:50:11.414" v="320" actId="208"/>
          <ac:cxnSpMkLst>
            <pc:docMk/>
            <pc:sldMk cId="2745595283" sldId="266"/>
            <ac:cxnSpMk id="2094" creationId="{56807906-60D6-3C19-512F-540D1F2B16B5}"/>
          </ac:cxnSpMkLst>
        </pc:cxnChg>
        <pc:cxnChg chg="add mod">
          <ac:chgData name="Jan K" userId="d066db4a5de46abf" providerId="LiveId" clId="{B1733AD1-BED1-4C71-B004-3296BFE0AA74}" dt="2024-11-01T22:52:16.326" v="342" actId="1035"/>
          <ac:cxnSpMkLst>
            <pc:docMk/>
            <pc:sldMk cId="2745595283" sldId="266"/>
            <ac:cxnSpMk id="2096" creationId="{AEE5C106-EF17-5439-93CC-B235CE76C64C}"/>
          </ac:cxnSpMkLst>
        </pc:cxnChg>
        <pc:cxnChg chg="add mod">
          <ac:chgData name="Jan K" userId="d066db4a5de46abf" providerId="LiveId" clId="{B1733AD1-BED1-4C71-B004-3296BFE0AA74}" dt="2024-11-01T23:06:08.640" v="395" actId="1038"/>
          <ac:cxnSpMkLst>
            <pc:docMk/>
            <pc:sldMk cId="2745595283" sldId="266"/>
            <ac:cxnSpMk id="2098" creationId="{951CC4E8-28AC-6564-70AA-2A6FFE572CCD}"/>
          </ac:cxnSpMkLst>
        </pc:cxnChg>
        <pc:cxnChg chg="add del mod">
          <ac:chgData name="Jan K" userId="d066db4a5de46abf" providerId="LiveId" clId="{B1733AD1-BED1-4C71-B004-3296BFE0AA74}" dt="2024-11-01T23:05:28.396" v="391" actId="478"/>
          <ac:cxnSpMkLst>
            <pc:docMk/>
            <pc:sldMk cId="2745595283" sldId="266"/>
            <ac:cxnSpMk id="2101" creationId="{A7A9CBB0-6619-A0A9-EECD-C643EBA8BFFC}"/>
          </ac:cxnSpMkLst>
        </pc:cxnChg>
        <pc:cxnChg chg="add mod">
          <ac:chgData name="Jan K" userId="d066db4a5de46abf" providerId="LiveId" clId="{B1733AD1-BED1-4C71-B004-3296BFE0AA74}" dt="2024-11-01T23:05:32.668" v="392" actId="14100"/>
          <ac:cxnSpMkLst>
            <pc:docMk/>
            <pc:sldMk cId="2745595283" sldId="266"/>
            <ac:cxnSpMk id="2104" creationId="{859F8D17-A187-165D-5B1C-469E195C8D6D}"/>
          </ac:cxnSpMkLst>
        </pc:cxnChg>
        <pc:cxnChg chg="add mod">
          <ac:chgData name="Jan K" userId="d066db4a5de46abf" providerId="LiveId" clId="{B1733AD1-BED1-4C71-B004-3296BFE0AA74}" dt="2024-11-01T23:00:56.082" v="387" actId="208"/>
          <ac:cxnSpMkLst>
            <pc:docMk/>
            <pc:sldMk cId="2745595283" sldId="266"/>
            <ac:cxnSpMk id="2106" creationId="{72608580-DF29-74D5-AEA1-D0D964E7D91A}"/>
          </ac:cxnSpMkLst>
        </pc:cxnChg>
        <pc:cxnChg chg="add mod">
          <ac:chgData name="Jan K" userId="d066db4a5de46abf" providerId="LiveId" clId="{B1733AD1-BED1-4C71-B004-3296BFE0AA74}" dt="2024-11-01T23:06:32.523" v="397" actId="14100"/>
          <ac:cxnSpMkLst>
            <pc:docMk/>
            <pc:sldMk cId="2745595283" sldId="266"/>
            <ac:cxnSpMk id="2109" creationId="{E9DFAEA0-7BD0-4968-5230-59C137E03ED9}"/>
          </ac:cxnSpMkLst>
        </pc:cxnChg>
        <pc:cxnChg chg="add mod">
          <ac:chgData name="Jan K" userId="d066db4a5de46abf" providerId="LiveId" clId="{B1733AD1-BED1-4C71-B004-3296BFE0AA74}" dt="2024-11-01T23:00:36.502" v="386" actId="14100"/>
          <ac:cxnSpMkLst>
            <pc:docMk/>
            <pc:sldMk cId="2745595283" sldId="266"/>
            <ac:cxnSpMk id="2124" creationId="{EE8D1037-4BBA-FFD9-A61C-220E7776332B}"/>
          </ac:cxnSpMkLst>
        </pc:cxnChg>
        <pc:cxnChg chg="add mod">
          <ac:chgData name="Jan K" userId="d066db4a5de46abf" providerId="LiveId" clId="{B1733AD1-BED1-4C71-B004-3296BFE0AA74}" dt="2024-11-01T22:59:37.069" v="373" actId="14100"/>
          <ac:cxnSpMkLst>
            <pc:docMk/>
            <pc:sldMk cId="2745595283" sldId="266"/>
            <ac:cxnSpMk id="2130" creationId="{46F51143-0D3C-3104-FF33-272F9FD37C35}"/>
          </ac:cxnSpMkLst>
        </pc:cxnChg>
        <pc:cxnChg chg="add mod">
          <ac:chgData name="Jan K" userId="d066db4a5de46abf" providerId="LiveId" clId="{B1733AD1-BED1-4C71-B004-3296BFE0AA74}" dt="2024-11-01T23:00:34.109" v="385" actId="14100"/>
          <ac:cxnSpMkLst>
            <pc:docMk/>
            <pc:sldMk cId="2745595283" sldId="266"/>
            <ac:cxnSpMk id="2132" creationId="{B7FFDCBA-1BE4-3E25-C06A-B234B86A57C5}"/>
          </ac:cxnSpMkLst>
        </pc:cxnChg>
      </pc:sldChg>
      <pc:sldChg chg="addSp delSp modSp new">
        <pc:chgData name="Jan K" userId="d066db4a5de46abf" providerId="LiveId" clId="{B1733AD1-BED1-4C71-B004-3296BFE0AA74}" dt="2024-11-21T17:36:49.527" v="612" actId="1076"/>
        <pc:sldMkLst>
          <pc:docMk/>
          <pc:sldMk cId="1436483383" sldId="267"/>
        </pc:sldMkLst>
        <pc:picChg chg="add mod">
          <ac:chgData name="Jan K" userId="d066db4a5de46abf" providerId="LiveId" clId="{B1733AD1-BED1-4C71-B004-3296BFE0AA74}" dt="2024-11-21T17:36:49.527" v="612" actId="1076"/>
          <ac:picMkLst>
            <pc:docMk/>
            <pc:sldMk cId="1436483383" sldId="267"/>
            <ac:picMk id="2" creationId="{88D73887-34D2-7F16-D513-AB9D4CF2A574}"/>
          </ac:picMkLst>
        </pc:picChg>
        <pc:picChg chg="add">
          <ac:chgData name="Jan K" userId="d066db4a5de46abf" providerId="LiveId" clId="{B1733AD1-BED1-4C71-B004-3296BFE0AA74}" dt="2024-11-01T22:14:28.863" v="1"/>
          <ac:picMkLst>
            <pc:docMk/>
            <pc:sldMk cId="1436483383" sldId="267"/>
            <ac:picMk id="1026" creationId="{1FAA62C8-67D6-2C03-4F45-5C825BF0276B}"/>
          </ac:picMkLst>
        </pc:picChg>
        <pc:picChg chg="add del mod">
          <ac:chgData name="Jan K" userId="d066db4a5de46abf" providerId="LiveId" clId="{B1733AD1-BED1-4C71-B004-3296BFE0AA74}" dt="2024-11-01T22:29:56.653" v="165" actId="21"/>
          <ac:picMkLst>
            <pc:docMk/>
            <pc:sldMk cId="1436483383" sldId="267"/>
            <ac:picMk id="1028" creationId="{88D73887-34D2-7F16-D513-AB9D4CF2A574}"/>
          </ac:picMkLst>
        </pc:picChg>
      </pc:sldChg>
      <pc:sldChg chg="addSp delSp modSp add mod">
        <pc:chgData name="Jan K" userId="d066db4a5de46abf" providerId="LiveId" clId="{B1733AD1-BED1-4C71-B004-3296BFE0AA74}" dt="2024-11-21T21:47:50.198" v="762" actId="14100"/>
        <pc:sldMkLst>
          <pc:docMk/>
          <pc:sldMk cId="4276762234" sldId="268"/>
        </pc:sldMkLst>
        <pc:spChg chg="add mod">
          <ac:chgData name="Jan K" userId="d066db4a5de46abf" providerId="LiveId" clId="{B1733AD1-BED1-4C71-B004-3296BFE0AA74}" dt="2024-11-21T21:47:16.484" v="755" actId="207"/>
          <ac:spMkLst>
            <pc:docMk/>
            <pc:sldMk cId="4276762234" sldId="268"/>
            <ac:spMk id="2" creationId="{0A509B09-914E-F9B9-BD1D-6050E7AAE715}"/>
          </ac:spMkLst>
        </pc:spChg>
        <pc:spChg chg="mod">
          <ac:chgData name="Jan K" userId="d066db4a5de46abf" providerId="LiveId" clId="{B1733AD1-BED1-4C71-B004-3296BFE0AA74}" dt="2024-11-21T17:23:09.513" v="458" actId="164"/>
          <ac:spMkLst>
            <pc:docMk/>
            <pc:sldMk cId="4276762234" sldId="268"/>
            <ac:spMk id="7" creationId="{FF6E775D-361C-0ECE-9ADA-6A90819F6D43}"/>
          </ac:spMkLst>
        </pc:spChg>
        <pc:spChg chg="mod">
          <ac:chgData name="Jan K" userId="d066db4a5de46abf" providerId="LiveId" clId="{B1733AD1-BED1-4C71-B004-3296BFE0AA74}" dt="2024-11-21T17:23:09.513" v="458" actId="164"/>
          <ac:spMkLst>
            <pc:docMk/>
            <pc:sldMk cId="4276762234" sldId="268"/>
            <ac:spMk id="28" creationId="{067C82BF-E058-9AA7-15C5-6456117A40CD}"/>
          </ac:spMkLst>
        </pc:spChg>
        <pc:spChg chg="add mod">
          <ac:chgData name="Jan K" userId="d066db4a5de46abf" providerId="LiveId" clId="{B1733AD1-BED1-4C71-B004-3296BFE0AA74}" dt="2024-11-21T21:47:08.821" v="753" actId="164"/>
          <ac:spMkLst>
            <pc:docMk/>
            <pc:sldMk cId="4276762234" sldId="268"/>
            <ac:spMk id="30" creationId="{FEB5C9E8-5079-F62F-E9A9-81D6D03803B4}"/>
          </ac:spMkLst>
        </pc:spChg>
        <pc:spChg chg="add mod ord">
          <ac:chgData name="Jan K" userId="d066db4a5de46abf" providerId="LiveId" clId="{B1733AD1-BED1-4C71-B004-3296BFE0AA74}" dt="2024-11-21T17:24:00.197" v="462" actId="167"/>
          <ac:spMkLst>
            <pc:docMk/>
            <pc:sldMk cId="4276762234" sldId="268"/>
            <ac:spMk id="36" creationId="{36FFEB34-A7C1-74EA-4442-063B1C7C71FD}"/>
          </ac:spMkLst>
        </pc:spChg>
        <pc:spChg chg="del">
          <ac:chgData name="Jan K" userId="d066db4a5de46abf" providerId="LiveId" clId="{B1733AD1-BED1-4C71-B004-3296BFE0AA74}" dt="2024-11-21T17:24:34.911" v="469" actId="478"/>
          <ac:spMkLst>
            <pc:docMk/>
            <pc:sldMk cId="4276762234" sldId="268"/>
            <ac:spMk id="41" creationId="{F8F22498-35B9-E469-7EF2-31267410C0F8}"/>
          </ac:spMkLst>
        </pc:spChg>
        <pc:spChg chg="del">
          <ac:chgData name="Jan K" userId="d066db4a5de46abf" providerId="LiveId" clId="{B1733AD1-BED1-4C71-B004-3296BFE0AA74}" dt="2024-11-21T17:24:36.645" v="472" actId="478"/>
          <ac:spMkLst>
            <pc:docMk/>
            <pc:sldMk cId="4276762234" sldId="268"/>
            <ac:spMk id="42" creationId="{3743731C-DEF8-3095-D449-E61E4EA7C2AD}"/>
          </ac:spMkLst>
        </pc:spChg>
        <pc:spChg chg="del mod">
          <ac:chgData name="Jan K" userId="d066db4a5de46abf" providerId="LiveId" clId="{B1733AD1-BED1-4C71-B004-3296BFE0AA74}" dt="2024-11-21T17:25:13.520" v="480" actId="478"/>
          <ac:spMkLst>
            <pc:docMk/>
            <pc:sldMk cId="4276762234" sldId="268"/>
            <ac:spMk id="44" creationId="{8EA41033-1F64-3106-EC39-BFE9FFA10DCB}"/>
          </ac:spMkLst>
        </pc:spChg>
        <pc:spChg chg="mod">
          <ac:chgData name="Jan K" userId="d066db4a5de46abf" providerId="LiveId" clId="{B1733AD1-BED1-4C71-B004-3296BFE0AA74}" dt="2024-11-21T17:25:56.255" v="490" actId="1076"/>
          <ac:spMkLst>
            <pc:docMk/>
            <pc:sldMk cId="4276762234" sldId="268"/>
            <ac:spMk id="46" creationId="{F0046E54-6604-28E8-4C01-A8ECB7B91A37}"/>
          </ac:spMkLst>
        </pc:spChg>
        <pc:spChg chg="mod">
          <ac:chgData name="Jan K" userId="d066db4a5de46abf" providerId="LiveId" clId="{B1733AD1-BED1-4C71-B004-3296BFE0AA74}" dt="2024-11-21T17:24:32.711" v="468" actId="1076"/>
          <ac:spMkLst>
            <pc:docMk/>
            <pc:sldMk cId="4276762234" sldId="268"/>
            <ac:spMk id="59" creationId="{8935B64A-EB29-0B5E-B636-3966E14AB3DD}"/>
          </ac:spMkLst>
        </pc:spChg>
        <pc:spChg chg="mod">
          <ac:chgData name="Jan K" userId="d066db4a5de46abf" providerId="LiveId" clId="{B1733AD1-BED1-4C71-B004-3296BFE0AA74}" dt="2024-11-21T17:25:11.579" v="478"/>
          <ac:spMkLst>
            <pc:docMk/>
            <pc:sldMk cId="4276762234" sldId="268"/>
            <ac:spMk id="60" creationId="{0B033607-E4F8-4623-A586-14A334AB6455}"/>
          </ac:spMkLst>
        </pc:spChg>
        <pc:spChg chg="mod">
          <ac:chgData name="Jan K" userId="d066db4a5de46abf" providerId="LiveId" clId="{B1733AD1-BED1-4C71-B004-3296BFE0AA74}" dt="2024-11-21T17:25:11.579" v="478"/>
          <ac:spMkLst>
            <pc:docMk/>
            <pc:sldMk cId="4276762234" sldId="268"/>
            <ac:spMk id="61" creationId="{8E03FBB4-20EA-183A-32EA-00876EAB213C}"/>
          </ac:spMkLst>
        </pc:spChg>
        <pc:spChg chg="del mod">
          <ac:chgData name="Jan K" userId="d066db4a5de46abf" providerId="LiveId" clId="{B1733AD1-BED1-4C71-B004-3296BFE0AA74}" dt="2024-11-21T17:25:21.932" v="483" actId="478"/>
          <ac:spMkLst>
            <pc:docMk/>
            <pc:sldMk cId="4276762234" sldId="268"/>
            <ac:spMk id="62" creationId="{5C32CF5F-5087-00ED-DF4A-E3CF37E7DD87}"/>
          </ac:spMkLst>
        </pc:spChg>
        <pc:spChg chg="del mod">
          <ac:chgData name="Jan K" userId="d066db4a5de46abf" providerId="LiveId" clId="{B1733AD1-BED1-4C71-B004-3296BFE0AA74}" dt="2024-11-21T17:25:16.955" v="481" actId="478"/>
          <ac:spMkLst>
            <pc:docMk/>
            <pc:sldMk cId="4276762234" sldId="268"/>
            <ac:spMk id="63" creationId="{04CA9B54-C347-AE15-4868-BA42A69EB0B9}"/>
          </ac:spMkLst>
        </pc:spChg>
        <pc:spChg chg="mod">
          <ac:chgData name="Jan K" userId="d066db4a5de46abf" providerId="LiveId" clId="{B1733AD1-BED1-4C71-B004-3296BFE0AA74}" dt="2024-11-21T17:25:11.579" v="478"/>
          <ac:spMkLst>
            <pc:docMk/>
            <pc:sldMk cId="4276762234" sldId="268"/>
            <ac:spMk id="2052" creationId="{171AB8E6-92C2-552A-E387-D5BD17F0B9FC}"/>
          </ac:spMkLst>
        </pc:spChg>
        <pc:spChg chg="mod">
          <ac:chgData name="Jan K" userId="d066db4a5de46abf" providerId="LiveId" clId="{B1733AD1-BED1-4C71-B004-3296BFE0AA74}" dt="2024-11-21T17:25:11.579" v="478"/>
          <ac:spMkLst>
            <pc:docMk/>
            <pc:sldMk cId="4276762234" sldId="268"/>
            <ac:spMk id="2053" creationId="{3CBB4D9C-398F-351E-AA0F-1BB20E9C2FCA}"/>
          </ac:spMkLst>
        </pc:spChg>
        <pc:spChg chg="del mod">
          <ac:chgData name="Jan K" userId="d066db4a5de46abf" providerId="LiveId" clId="{B1733AD1-BED1-4C71-B004-3296BFE0AA74}" dt="2024-11-21T17:25:18.880" v="482" actId="478"/>
          <ac:spMkLst>
            <pc:docMk/>
            <pc:sldMk cId="4276762234" sldId="268"/>
            <ac:spMk id="2054" creationId="{A5CF7A36-AD40-E249-3B47-1B27462AC563}"/>
          </ac:spMkLst>
        </pc:spChg>
        <pc:spChg chg="del mod">
          <ac:chgData name="Jan K" userId="d066db4a5de46abf" providerId="LiveId" clId="{B1733AD1-BED1-4C71-B004-3296BFE0AA74}" dt="2024-11-21T17:25:25.789" v="484" actId="478"/>
          <ac:spMkLst>
            <pc:docMk/>
            <pc:sldMk cId="4276762234" sldId="268"/>
            <ac:spMk id="2055" creationId="{E324919D-7BD3-6ECA-B9B2-5947E1693958}"/>
          </ac:spMkLst>
        </pc:spChg>
        <pc:spChg chg="mod">
          <ac:chgData name="Jan K" userId="d066db4a5de46abf" providerId="LiveId" clId="{B1733AD1-BED1-4C71-B004-3296BFE0AA74}" dt="2024-11-21T17:26:48.980" v="507" actId="20577"/>
          <ac:spMkLst>
            <pc:docMk/>
            <pc:sldMk cId="4276762234" sldId="268"/>
            <ac:spMk id="2062" creationId="{63A7A325-8C23-9B97-07E3-CEE44FC79DB8}"/>
          </ac:spMkLst>
        </pc:spChg>
        <pc:spChg chg="mod">
          <ac:chgData name="Jan K" userId="d066db4a5de46abf" providerId="LiveId" clId="{B1733AD1-BED1-4C71-B004-3296BFE0AA74}" dt="2024-11-21T17:26:34.735" v="495"/>
          <ac:spMkLst>
            <pc:docMk/>
            <pc:sldMk cId="4276762234" sldId="268"/>
            <ac:spMk id="2063" creationId="{3F983E2E-C36D-AB97-5C13-071B5E6A6FF7}"/>
          </ac:spMkLst>
        </pc:spChg>
        <pc:spChg chg="mod">
          <ac:chgData name="Jan K" userId="d066db4a5de46abf" providerId="LiveId" clId="{B1733AD1-BED1-4C71-B004-3296BFE0AA74}" dt="2024-11-21T17:26:34.735" v="495"/>
          <ac:spMkLst>
            <pc:docMk/>
            <pc:sldMk cId="4276762234" sldId="268"/>
            <ac:spMk id="2064" creationId="{D9CE975E-1C50-54A2-19AD-8B7AA51BB000}"/>
          </ac:spMkLst>
        </pc:spChg>
        <pc:spChg chg="mod">
          <ac:chgData name="Jan K" userId="d066db4a5de46abf" providerId="LiveId" clId="{B1733AD1-BED1-4C71-B004-3296BFE0AA74}" dt="2024-11-21T17:26:34.735" v="495"/>
          <ac:spMkLst>
            <pc:docMk/>
            <pc:sldMk cId="4276762234" sldId="268"/>
            <ac:spMk id="2066" creationId="{E9B7CAE6-F4FB-61B9-6F17-3E6D662B5F5E}"/>
          </ac:spMkLst>
        </pc:spChg>
        <pc:spChg chg="mod">
          <ac:chgData name="Jan K" userId="d066db4a5de46abf" providerId="LiveId" clId="{B1733AD1-BED1-4C71-B004-3296BFE0AA74}" dt="2024-11-21T17:26:34.735" v="495"/>
          <ac:spMkLst>
            <pc:docMk/>
            <pc:sldMk cId="4276762234" sldId="268"/>
            <ac:spMk id="2079" creationId="{D7B7B20B-0AA9-AFE1-E6C5-74CACD1D2133}"/>
          </ac:spMkLst>
        </pc:spChg>
        <pc:spChg chg="mod">
          <ac:chgData name="Jan K" userId="d066db4a5de46abf" providerId="LiveId" clId="{B1733AD1-BED1-4C71-B004-3296BFE0AA74}" dt="2024-11-21T17:27:30.611" v="518" actId="1076"/>
          <ac:spMkLst>
            <pc:docMk/>
            <pc:sldMk cId="4276762234" sldId="268"/>
            <ac:spMk id="2085" creationId="{82EAA65D-97D2-DE29-A98F-C219B92AE450}"/>
          </ac:spMkLst>
        </pc:spChg>
        <pc:spChg chg="mod">
          <ac:chgData name="Jan K" userId="d066db4a5de46abf" providerId="LiveId" clId="{B1733AD1-BED1-4C71-B004-3296BFE0AA74}" dt="2024-11-21T17:41:00.253" v="660" actId="17032"/>
          <ac:spMkLst>
            <pc:docMk/>
            <pc:sldMk cId="4276762234" sldId="268"/>
            <ac:spMk id="2088" creationId="{D3CC2979-5285-305D-DA75-6201E6F31477}"/>
          </ac:spMkLst>
        </pc:spChg>
        <pc:spChg chg="del mod">
          <ac:chgData name="Jan K" userId="d066db4a5de46abf" providerId="LiveId" clId="{B1733AD1-BED1-4C71-B004-3296BFE0AA74}" dt="2024-11-21T17:27:50.128" v="524" actId="478"/>
          <ac:spMkLst>
            <pc:docMk/>
            <pc:sldMk cId="4276762234" sldId="268"/>
            <ac:spMk id="2089" creationId="{8780B954-C49D-6258-D71F-80B44984DDF7}"/>
          </ac:spMkLst>
        </pc:spChg>
        <pc:spChg chg="mod">
          <ac:chgData name="Jan K" userId="d066db4a5de46abf" providerId="LiveId" clId="{B1733AD1-BED1-4C71-B004-3296BFE0AA74}" dt="2024-11-21T17:27:07.833" v="508"/>
          <ac:spMkLst>
            <pc:docMk/>
            <pc:sldMk cId="4276762234" sldId="268"/>
            <ac:spMk id="2091" creationId="{A8CD763D-2EDF-95A9-31CE-019A8B6D7884}"/>
          </ac:spMkLst>
        </pc:spChg>
        <pc:spChg chg="del mod">
          <ac:chgData name="Jan K" userId="d066db4a5de46abf" providerId="LiveId" clId="{B1733AD1-BED1-4C71-B004-3296BFE0AA74}" dt="2024-11-21T17:27:47.735" v="523" actId="478"/>
          <ac:spMkLst>
            <pc:docMk/>
            <pc:sldMk cId="4276762234" sldId="268"/>
            <ac:spMk id="2093" creationId="{35EE7D63-FCD2-4B94-10A7-DCA5AADE5CEA}"/>
          </ac:spMkLst>
        </pc:spChg>
        <pc:spChg chg="mod topLvl">
          <ac:chgData name="Jan K" userId="d066db4a5de46abf" providerId="LiveId" clId="{B1733AD1-BED1-4C71-B004-3296BFE0AA74}" dt="2024-11-21T17:40:53.932" v="659" actId="17032"/>
          <ac:spMkLst>
            <pc:docMk/>
            <pc:sldMk cId="4276762234" sldId="268"/>
            <ac:spMk id="2100" creationId="{DBA82001-7886-1C9B-D706-F0682E6D85BB}"/>
          </ac:spMkLst>
        </pc:spChg>
        <pc:spChg chg="del mod topLvl">
          <ac:chgData name="Jan K" userId="d066db4a5de46abf" providerId="LiveId" clId="{B1733AD1-BED1-4C71-B004-3296BFE0AA74}" dt="2024-11-21T17:28:53.291" v="537" actId="478"/>
          <ac:spMkLst>
            <pc:docMk/>
            <pc:sldMk cId="4276762234" sldId="268"/>
            <ac:spMk id="2101" creationId="{9443BE69-65D8-28BC-E87B-304251A96A04}"/>
          </ac:spMkLst>
        </pc:spChg>
        <pc:spChg chg="mod">
          <ac:chgData name="Jan K" userId="d066db4a5de46abf" providerId="LiveId" clId="{B1733AD1-BED1-4C71-B004-3296BFE0AA74}" dt="2024-11-21T17:28:31.089" v="530" actId="165"/>
          <ac:spMkLst>
            <pc:docMk/>
            <pc:sldMk cId="4276762234" sldId="268"/>
            <ac:spMk id="2103" creationId="{415EE4EB-043C-CC1B-8B0D-4C2103196E07}"/>
          </ac:spMkLst>
        </pc:spChg>
        <pc:spChg chg="del mod">
          <ac:chgData name="Jan K" userId="d066db4a5de46abf" providerId="LiveId" clId="{B1733AD1-BED1-4C71-B004-3296BFE0AA74}" dt="2024-11-21T17:28:51.804" v="535" actId="478"/>
          <ac:spMkLst>
            <pc:docMk/>
            <pc:sldMk cId="4276762234" sldId="268"/>
            <ac:spMk id="2105" creationId="{E2C05BAF-E706-991B-7980-C0B63751D6CE}"/>
          </ac:spMkLst>
        </pc:spChg>
        <pc:spChg chg="mod">
          <ac:chgData name="Jan K" userId="d066db4a5de46abf" providerId="LiveId" clId="{B1733AD1-BED1-4C71-B004-3296BFE0AA74}" dt="2024-11-21T17:40:48.645" v="658" actId="17032"/>
          <ac:spMkLst>
            <pc:docMk/>
            <pc:sldMk cId="4276762234" sldId="268"/>
            <ac:spMk id="2110" creationId="{686DD3DF-9BD6-D227-B1A0-CA8FE14E36C7}"/>
          </ac:spMkLst>
        </pc:spChg>
        <pc:spChg chg="mod">
          <ac:chgData name="Jan K" userId="d066db4a5de46abf" providerId="LiveId" clId="{B1733AD1-BED1-4C71-B004-3296BFE0AA74}" dt="2024-11-21T17:29:02.997" v="539"/>
          <ac:spMkLst>
            <pc:docMk/>
            <pc:sldMk cId="4276762234" sldId="268"/>
            <ac:spMk id="2111" creationId="{9EACC892-8876-9776-1EF1-4EA78045C125}"/>
          </ac:spMkLst>
        </pc:spChg>
        <pc:spChg chg="mod">
          <ac:chgData name="Jan K" userId="d066db4a5de46abf" providerId="LiveId" clId="{B1733AD1-BED1-4C71-B004-3296BFE0AA74}" dt="2024-11-21T17:29:18.680" v="541"/>
          <ac:spMkLst>
            <pc:docMk/>
            <pc:sldMk cId="4276762234" sldId="268"/>
            <ac:spMk id="2126" creationId="{AC2FA631-F3EB-76A5-C4FC-C4E244DA15DC}"/>
          </ac:spMkLst>
        </pc:spChg>
        <pc:spChg chg="mod">
          <ac:chgData name="Jan K" userId="d066db4a5de46abf" providerId="LiveId" clId="{B1733AD1-BED1-4C71-B004-3296BFE0AA74}" dt="2024-11-21T17:29:18.680" v="541"/>
          <ac:spMkLst>
            <pc:docMk/>
            <pc:sldMk cId="4276762234" sldId="268"/>
            <ac:spMk id="2127" creationId="{EDDC5C46-3AF0-01C3-04AB-B14A4C499E0E}"/>
          </ac:spMkLst>
        </pc:spChg>
        <pc:spChg chg="mod">
          <ac:chgData name="Jan K" userId="d066db4a5de46abf" providerId="LiveId" clId="{B1733AD1-BED1-4C71-B004-3296BFE0AA74}" dt="2024-11-21T17:29:18.680" v="541"/>
          <ac:spMkLst>
            <pc:docMk/>
            <pc:sldMk cId="4276762234" sldId="268"/>
            <ac:spMk id="2128" creationId="{E03CD78B-1F7B-F33C-128C-444B7988F764}"/>
          </ac:spMkLst>
        </pc:spChg>
        <pc:spChg chg="mod ord">
          <ac:chgData name="Jan K" userId="d066db4a5de46abf" providerId="LiveId" clId="{B1733AD1-BED1-4C71-B004-3296BFE0AA74}" dt="2024-11-21T17:33:38.465" v="597" actId="207"/>
          <ac:spMkLst>
            <pc:docMk/>
            <pc:sldMk cId="4276762234" sldId="268"/>
            <ac:spMk id="2133" creationId="{C9BEA365-A9E1-BACE-52CE-293104E4AE8D}"/>
          </ac:spMkLst>
        </pc:spChg>
        <pc:spChg chg="mod">
          <ac:chgData name="Jan K" userId="d066db4a5de46abf" providerId="LiveId" clId="{B1733AD1-BED1-4C71-B004-3296BFE0AA74}" dt="2024-11-21T17:29:28.202" v="544"/>
          <ac:spMkLst>
            <pc:docMk/>
            <pc:sldMk cId="4276762234" sldId="268"/>
            <ac:spMk id="2134" creationId="{EEE8D064-D7CB-0486-6D6C-D8DCE717C255}"/>
          </ac:spMkLst>
        </pc:spChg>
        <pc:spChg chg="mod">
          <ac:chgData name="Jan K" userId="d066db4a5de46abf" providerId="LiveId" clId="{B1733AD1-BED1-4C71-B004-3296BFE0AA74}" dt="2024-11-21T17:29:28.202" v="544"/>
          <ac:spMkLst>
            <pc:docMk/>
            <pc:sldMk cId="4276762234" sldId="268"/>
            <ac:spMk id="2135" creationId="{51F080D6-5D1E-EEB9-8617-700D5A87EA81}"/>
          </ac:spMkLst>
        </pc:spChg>
        <pc:spChg chg="mod">
          <ac:chgData name="Jan K" userId="d066db4a5de46abf" providerId="LiveId" clId="{B1733AD1-BED1-4C71-B004-3296BFE0AA74}" dt="2024-11-21T17:29:28.202" v="544"/>
          <ac:spMkLst>
            <pc:docMk/>
            <pc:sldMk cId="4276762234" sldId="268"/>
            <ac:spMk id="2137" creationId="{631473B6-528C-92A1-D246-4F8B5D019E74}"/>
          </ac:spMkLst>
        </pc:spChg>
        <pc:spChg chg="mod">
          <ac:chgData name="Jan K" userId="d066db4a5de46abf" providerId="LiveId" clId="{B1733AD1-BED1-4C71-B004-3296BFE0AA74}" dt="2024-11-21T17:29:28.202" v="544"/>
          <ac:spMkLst>
            <pc:docMk/>
            <pc:sldMk cId="4276762234" sldId="268"/>
            <ac:spMk id="2146" creationId="{7153A05A-755F-4A3A-4619-C7C966396B33}"/>
          </ac:spMkLst>
        </pc:spChg>
        <pc:spChg chg="add mod">
          <ac:chgData name="Jan K" userId="d066db4a5de46abf" providerId="LiveId" clId="{B1733AD1-BED1-4C71-B004-3296BFE0AA74}" dt="2024-11-21T17:31:40.082" v="569" actId="164"/>
          <ac:spMkLst>
            <pc:docMk/>
            <pc:sldMk cId="4276762234" sldId="268"/>
            <ac:spMk id="2147" creationId="{D9BCF991-A381-FCED-D5CB-85A3DA07398A}"/>
          </ac:spMkLst>
        </pc:spChg>
        <pc:spChg chg="add mod">
          <ac:chgData name="Jan K" userId="d066db4a5de46abf" providerId="LiveId" clId="{B1733AD1-BED1-4C71-B004-3296BFE0AA74}" dt="2024-11-21T17:31:40.082" v="569" actId="164"/>
          <ac:spMkLst>
            <pc:docMk/>
            <pc:sldMk cId="4276762234" sldId="268"/>
            <ac:spMk id="2148" creationId="{03E8DF05-DF8B-1438-FD18-24C04D87E586}"/>
          </ac:spMkLst>
        </pc:spChg>
        <pc:spChg chg="mod">
          <ac:chgData name="Jan K" userId="d066db4a5de46abf" providerId="LiveId" clId="{B1733AD1-BED1-4C71-B004-3296BFE0AA74}" dt="2024-11-21T17:32:38.228" v="579"/>
          <ac:spMkLst>
            <pc:docMk/>
            <pc:sldMk cId="4276762234" sldId="268"/>
            <ac:spMk id="2155" creationId="{C0D37966-C29F-84D5-9986-D2678A5E2C50}"/>
          </ac:spMkLst>
        </pc:spChg>
        <pc:spChg chg="mod">
          <ac:chgData name="Jan K" userId="d066db4a5de46abf" providerId="LiveId" clId="{B1733AD1-BED1-4C71-B004-3296BFE0AA74}" dt="2024-11-21T17:32:38.228" v="579"/>
          <ac:spMkLst>
            <pc:docMk/>
            <pc:sldMk cId="4276762234" sldId="268"/>
            <ac:spMk id="2156" creationId="{6B48D7F4-7E92-94EE-15B9-1D52FC56A50B}"/>
          </ac:spMkLst>
        </pc:spChg>
        <pc:spChg chg="mod">
          <ac:chgData name="Jan K" userId="d066db4a5de46abf" providerId="LiveId" clId="{B1733AD1-BED1-4C71-B004-3296BFE0AA74}" dt="2024-11-21T17:32:43.470" v="581"/>
          <ac:spMkLst>
            <pc:docMk/>
            <pc:sldMk cId="4276762234" sldId="268"/>
            <ac:spMk id="2158" creationId="{127DD13F-A756-0FCD-3235-6524383490CE}"/>
          </ac:spMkLst>
        </pc:spChg>
        <pc:spChg chg="mod">
          <ac:chgData name="Jan K" userId="d066db4a5de46abf" providerId="LiveId" clId="{B1733AD1-BED1-4C71-B004-3296BFE0AA74}" dt="2024-11-21T17:32:43.470" v="581"/>
          <ac:spMkLst>
            <pc:docMk/>
            <pc:sldMk cId="4276762234" sldId="268"/>
            <ac:spMk id="2159" creationId="{3F4B11C5-5FAC-1164-92EE-32BB01BCBD18}"/>
          </ac:spMkLst>
        </pc:spChg>
        <pc:spChg chg="mod">
          <ac:chgData name="Jan K" userId="d066db4a5de46abf" providerId="LiveId" clId="{B1733AD1-BED1-4C71-B004-3296BFE0AA74}" dt="2024-11-21T21:47:34.215" v="758" actId="207"/>
          <ac:spMkLst>
            <pc:docMk/>
            <pc:sldMk cId="4276762234" sldId="268"/>
            <ac:spMk id="2164" creationId="{EB682DF9-19D8-5321-5058-1DDB1DED37DC}"/>
          </ac:spMkLst>
        </pc:spChg>
        <pc:spChg chg="mod">
          <ac:chgData name="Jan K" userId="d066db4a5de46abf" providerId="LiveId" clId="{B1733AD1-BED1-4C71-B004-3296BFE0AA74}" dt="2024-11-21T17:33:59.862" v="599"/>
          <ac:spMkLst>
            <pc:docMk/>
            <pc:sldMk cId="4276762234" sldId="268"/>
            <ac:spMk id="2165" creationId="{F0C44107-45C6-75D1-3A71-9B5C5598CBC3}"/>
          </ac:spMkLst>
        </pc:spChg>
        <pc:spChg chg="mod">
          <ac:chgData name="Jan K" userId="d066db4a5de46abf" providerId="LiveId" clId="{B1733AD1-BED1-4C71-B004-3296BFE0AA74}" dt="2024-11-21T17:33:59.862" v="599"/>
          <ac:spMkLst>
            <pc:docMk/>
            <pc:sldMk cId="4276762234" sldId="268"/>
            <ac:spMk id="2166" creationId="{AF7FA134-117D-F5DA-0904-57EA0D6D1281}"/>
          </ac:spMkLst>
        </pc:spChg>
        <pc:spChg chg="mod">
          <ac:chgData name="Jan K" userId="d066db4a5de46abf" providerId="LiveId" clId="{B1733AD1-BED1-4C71-B004-3296BFE0AA74}" dt="2024-11-21T17:33:59.862" v="599"/>
          <ac:spMkLst>
            <pc:docMk/>
            <pc:sldMk cId="4276762234" sldId="268"/>
            <ac:spMk id="2168" creationId="{FCB58EA0-3797-5B15-3C47-ACF5BE10B947}"/>
          </ac:spMkLst>
        </pc:spChg>
        <pc:spChg chg="mod">
          <ac:chgData name="Jan K" userId="d066db4a5de46abf" providerId="LiveId" clId="{B1733AD1-BED1-4C71-B004-3296BFE0AA74}" dt="2024-11-21T17:33:59.862" v="599"/>
          <ac:spMkLst>
            <pc:docMk/>
            <pc:sldMk cId="4276762234" sldId="268"/>
            <ac:spMk id="2169" creationId="{11E086BB-66CD-7203-B0E1-E85B53930121}"/>
          </ac:spMkLst>
        </pc:spChg>
        <pc:spChg chg="mod">
          <ac:chgData name="Jan K" userId="d066db4a5de46abf" providerId="LiveId" clId="{B1733AD1-BED1-4C71-B004-3296BFE0AA74}" dt="2024-11-21T17:50:27.143" v="727" actId="207"/>
          <ac:spMkLst>
            <pc:docMk/>
            <pc:sldMk cId="4276762234" sldId="268"/>
            <ac:spMk id="2171" creationId="{995F9B3B-5302-06E7-420A-DF77F97574E0}"/>
          </ac:spMkLst>
        </pc:spChg>
        <pc:spChg chg="mod">
          <ac:chgData name="Jan K" userId="d066db4a5de46abf" providerId="LiveId" clId="{B1733AD1-BED1-4C71-B004-3296BFE0AA74}" dt="2024-11-21T17:37:38.627" v="613"/>
          <ac:spMkLst>
            <pc:docMk/>
            <pc:sldMk cId="4276762234" sldId="268"/>
            <ac:spMk id="2172" creationId="{3D556605-09A1-CF10-2A25-6AA5FA043294}"/>
          </ac:spMkLst>
        </pc:spChg>
        <pc:spChg chg="mod">
          <ac:chgData name="Jan K" userId="d066db4a5de46abf" providerId="LiveId" clId="{B1733AD1-BED1-4C71-B004-3296BFE0AA74}" dt="2024-11-21T17:37:52.089" v="615"/>
          <ac:spMkLst>
            <pc:docMk/>
            <pc:sldMk cId="4276762234" sldId="268"/>
            <ac:spMk id="2174" creationId="{6F89A927-BBAE-CDD0-EEFB-84357BBFE89A}"/>
          </ac:spMkLst>
        </pc:spChg>
        <pc:spChg chg="mod">
          <ac:chgData name="Jan K" userId="d066db4a5de46abf" providerId="LiveId" clId="{B1733AD1-BED1-4C71-B004-3296BFE0AA74}" dt="2024-11-21T17:37:52.089" v="615"/>
          <ac:spMkLst>
            <pc:docMk/>
            <pc:sldMk cId="4276762234" sldId="268"/>
            <ac:spMk id="2175" creationId="{91605D9A-9E04-9CE2-067E-A60ED04E4C17}"/>
          </ac:spMkLst>
        </pc:spChg>
        <pc:spChg chg="add mod">
          <ac:chgData name="Jan K" userId="d066db4a5de46abf" providerId="LiveId" clId="{B1733AD1-BED1-4C71-B004-3296BFE0AA74}" dt="2024-11-21T17:50:32.772" v="728" actId="207"/>
          <ac:spMkLst>
            <pc:docMk/>
            <pc:sldMk cId="4276762234" sldId="268"/>
            <ac:spMk id="2176" creationId="{690C1A75-2AFE-D10C-5E0D-FCC8A18AC308}"/>
          </ac:spMkLst>
        </pc:spChg>
        <pc:spChg chg="add mod">
          <ac:chgData name="Jan K" userId="d066db4a5de46abf" providerId="LiveId" clId="{B1733AD1-BED1-4C71-B004-3296BFE0AA74}" dt="2024-11-21T17:38:33.220" v="626" actId="164"/>
          <ac:spMkLst>
            <pc:docMk/>
            <pc:sldMk cId="4276762234" sldId="268"/>
            <ac:spMk id="2177" creationId="{D30F5476-6A8A-7F66-64E8-4F34994753A3}"/>
          </ac:spMkLst>
        </pc:spChg>
        <pc:spChg chg="mod">
          <ac:chgData name="Jan K" userId="d066db4a5de46abf" providerId="LiveId" clId="{B1733AD1-BED1-4C71-B004-3296BFE0AA74}" dt="2024-11-21T17:41:57.228" v="664"/>
          <ac:spMkLst>
            <pc:docMk/>
            <pc:sldMk cId="4276762234" sldId="268"/>
            <ac:spMk id="2199" creationId="{05A0219E-77F8-3864-7E60-F1D4BC610413}"/>
          </ac:spMkLst>
        </pc:spChg>
        <pc:spChg chg="mod">
          <ac:chgData name="Jan K" userId="d066db4a5de46abf" providerId="LiveId" clId="{B1733AD1-BED1-4C71-B004-3296BFE0AA74}" dt="2024-11-21T17:41:57.228" v="664"/>
          <ac:spMkLst>
            <pc:docMk/>
            <pc:sldMk cId="4276762234" sldId="268"/>
            <ac:spMk id="2200" creationId="{DBBB03DD-C07E-9F64-EE1E-CBBE8ABA4935}"/>
          </ac:spMkLst>
        </pc:spChg>
        <pc:spChg chg="mod">
          <ac:chgData name="Jan K" userId="d066db4a5de46abf" providerId="LiveId" clId="{B1733AD1-BED1-4C71-B004-3296BFE0AA74}" dt="2024-11-21T17:42:01.735" v="666"/>
          <ac:spMkLst>
            <pc:docMk/>
            <pc:sldMk cId="4276762234" sldId="268"/>
            <ac:spMk id="2202" creationId="{BEF66062-01F3-CC9F-39C6-70130E170141}"/>
          </ac:spMkLst>
        </pc:spChg>
        <pc:spChg chg="mod">
          <ac:chgData name="Jan K" userId="d066db4a5de46abf" providerId="LiveId" clId="{B1733AD1-BED1-4C71-B004-3296BFE0AA74}" dt="2024-11-21T17:42:01.735" v="666"/>
          <ac:spMkLst>
            <pc:docMk/>
            <pc:sldMk cId="4276762234" sldId="268"/>
            <ac:spMk id="2203" creationId="{5269D095-5924-FB90-9EBD-0881A9567C35}"/>
          </ac:spMkLst>
        </pc:spChg>
        <pc:spChg chg="add del mod">
          <ac:chgData name="Jan K" userId="d066db4a5de46abf" providerId="LiveId" clId="{B1733AD1-BED1-4C71-B004-3296BFE0AA74}" dt="2024-11-21T17:42:20.854" v="671" actId="478"/>
          <ac:spMkLst>
            <pc:docMk/>
            <pc:sldMk cId="4276762234" sldId="268"/>
            <ac:spMk id="2204" creationId="{D7EA8177-2D11-E8A6-D884-631A91A7BF08}"/>
          </ac:spMkLst>
        </pc:spChg>
        <pc:spChg chg="add mod">
          <ac:chgData name="Jan K" userId="d066db4a5de46abf" providerId="LiveId" clId="{B1733AD1-BED1-4C71-B004-3296BFE0AA74}" dt="2024-11-21T17:42:37.331" v="680" actId="1076"/>
          <ac:spMkLst>
            <pc:docMk/>
            <pc:sldMk cId="4276762234" sldId="268"/>
            <ac:spMk id="2205" creationId="{23749D49-1688-2EB8-762F-11BD9E33DC27}"/>
          </ac:spMkLst>
        </pc:spChg>
        <pc:spChg chg="add del mod">
          <ac:chgData name="Jan K" userId="d066db4a5de46abf" providerId="LiveId" clId="{B1733AD1-BED1-4C71-B004-3296BFE0AA74}" dt="2024-11-21T17:43:03.516" v="683" actId="478"/>
          <ac:spMkLst>
            <pc:docMk/>
            <pc:sldMk cId="4276762234" sldId="268"/>
            <ac:spMk id="2206" creationId="{07A65DA2-06C0-A768-970B-BA2C59CFBC4A}"/>
          </ac:spMkLst>
        </pc:spChg>
        <pc:spChg chg="mod">
          <ac:chgData name="Jan K" userId="d066db4a5de46abf" providerId="LiveId" clId="{B1733AD1-BED1-4C71-B004-3296BFE0AA74}" dt="2024-11-21T17:44:17.291" v="693" actId="1076"/>
          <ac:spMkLst>
            <pc:docMk/>
            <pc:sldMk cId="4276762234" sldId="268"/>
            <ac:spMk id="2209" creationId="{3860DD4A-1FB7-4613-DDF9-53B06D38EDCB}"/>
          </ac:spMkLst>
        </pc:spChg>
        <pc:spChg chg="mod">
          <ac:chgData name="Jan K" userId="d066db4a5de46abf" providerId="LiveId" clId="{B1733AD1-BED1-4C71-B004-3296BFE0AA74}" dt="2024-11-21T17:44:25.288" v="694" actId="207"/>
          <ac:spMkLst>
            <pc:docMk/>
            <pc:sldMk cId="4276762234" sldId="268"/>
            <ac:spMk id="2210" creationId="{36292F30-7E65-D409-00A7-F225AE2862A7}"/>
          </ac:spMkLst>
        </pc:spChg>
        <pc:spChg chg="del mod">
          <ac:chgData name="Jan K" userId="d066db4a5de46abf" providerId="LiveId" clId="{B1733AD1-BED1-4C71-B004-3296BFE0AA74}" dt="2024-11-21T17:44:13.425" v="692" actId="478"/>
          <ac:spMkLst>
            <pc:docMk/>
            <pc:sldMk cId="4276762234" sldId="268"/>
            <ac:spMk id="2211" creationId="{E850CE8A-BA8D-7338-E816-9311321AE074}"/>
          </ac:spMkLst>
        </pc:spChg>
        <pc:spChg chg="mod">
          <ac:chgData name="Jan K" userId="d066db4a5de46abf" providerId="LiveId" clId="{B1733AD1-BED1-4C71-B004-3296BFE0AA74}" dt="2024-11-21T17:43:52.340" v="684"/>
          <ac:spMkLst>
            <pc:docMk/>
            <pc:sldMk cId="4276762234" sldId="268"/>
            <ac:spMk id="2213" creationId="{1ED2A21E-AA81-B3DE-FE54-4EE9F48B63BB}"/>
          </ac:spMkLst>
        </pc:spChg>
        <pc:spChg chg="del mod">
          <ac:chgData name="Jan K" userId="d066db4a5de46abf" providerId="LiveId" clId="{B1733AD1-BED1-4C71-B004-3296BFE0AA74}" dt="2024-11-21T17:44:10.860" v="691" actId="478"/>
          <ac:spMkLst>
            <pc:docMk/>
            <pc:sldMk cId="4276762234" sldId="268"/>
            <ac:spMk id="2214" creationId="{E9DB9F20-B10A-112D-A040-B0DA4569FC52}"/>
          </ac:spMkLst>
        </pc:spChg>
        <pc:spChg chg="mod">
          <ac:chgData name="Jan K" userId="d066db4a5de46abf" providerId="LiveId" clId="{B1733AD1-BED1-4C71-B004-3296BFE0AA74}" dt="2024-11-21T17:52:23.625" v="741" actId="20577"/>
          <ac:spMkLst>
            <pc:docMk/>
            <pc:sldMk cId="4276762234" sldId="268"/>
            <ac:spMk id="2236" creationId="{998C3477-CE09-9CDB-BABE-EE3D7CC20E36}"/>
          </ac:spMkLst>
        </pc:spChg>
        <pc:spChg chg="mod">
          <ac:chgData name="Jan K" userId="d066db4a5de46abf" providerId="LiveId" clId="{B1733AD1-BED1-4C71-B004-3296BFE0AA74}" dt="2024-11-21T17:52:16.377" v="734"/>
          <ac:spMkLst>
            <pc:docMk/>
            <pc:sldMk cId="4276762234" sldId="268"/>
            <ac:spMk id="2237" creationId="{62538772-B10C-55F0-B224-6FD73A4B10BE}"/>
          </ac:spMkLst>
        </pc:spChg>
        <pc:spChg chg="mod">
          <ac:chgData name="Jan K" userId="d066db4a5de46abf" providerId="LiveId" clId="{B1733AD1-BED1-4C71-B004-3296BFE0AA74}" dt="2024-11-21T17:52:16.377" v="734"/>
          <ac:spMkLst>
            <pc:docMk/>
            <pc:sldMk cId="4276762234" sldId="268"/>
            <ac:spMk id="2238" creationId="{C0AC5AB6-C642-E9DE-C99E-CE721A7440C1}"/>
          </ac:spMkLst>
        </pc:spChg>
        <pc:spChg chg="add mod">
          <ac:chgData name="Jan K" userId="d066db4a5de46abf" providerId="LiveId" clId="{B1733AD1-BED1-4C71-B004-3296BFE0AA74}" dt="2024-11-21T17:52:36.248" v="744" actId="1076"/>
          <ac:spMkLst>
            <pc:docMk/>
            <pc:sldMk cId="4276762234" sldId="268"/>
            <ac:spMk id="2240" creationId="{B17B01D7-EDAD-CCBA-0798-CB71440D843D}"/>
          </ac:spMkLst>
        </pc:spChg>
        <pc:spChg chg="add mod">
          <ac:chgData name="Jan K" userId="d066db4a5de46abf" providerId="LiveId" clId="{B1733AD1-BED1-4C71-B004-3296BFE0AA74}" dt="2024-11-21T17:52:36.248" v="744" actId="1076"/>
          <ac:spMkLst>
            <pc:docMk/>
            <pc:sldMk cId="4276762234" sldId="268"/>
            <ac:spMk id="2241" creationId="{402BC2F4-8CD0-7114-7989-1921C86398E9}"/>
          </ac:spMkLst>
        </pc:spChg>
        <pc:grpChg chg="mod">
          <ac:chgData name="Jan K" userId="d066db4a5de46abf" providerId="LiveId" clId="{B1733AD1-BED1-4C71-B004-3296BFE0AA74}" dt="2024-11-21T17:23:09.513" v="458" actId="164"/>
          <ac:grpSpMkLst>
            <pc:docMk/>
            <pc:sldMk cId="4276762234" sldId="268"/>
            <ac:grpSpMk id="18" creationId="{BB0D5AE2-59E0-3A82-5B29-C51F8BD76A95}"/>
          </ac:grpSpMkLst>
        </pc:grpChg>
        <pc:grpChg chg="del">
          <ac:chgData name="Jan K" userId="d066db4a5de46abf" providerId="LiveId" clId="{B1733AD1-BED1-4C71-B004-3296BFE0AA74}" dt="2024-11-21T17:24:43.073" v="474" actId="478"/>
          <ac:grpSpMkLst>
            <pc:docMk/>
            <pc:sldMk cId="4276762234" sldId="268"/>
            <ac:grpSpMk id="30" creationId="{3CF10AE3-1F7B-368B-E611-4C9BC81AC1F5}"/>
          </ac:grpSpMkLst>
        </pc:grpChg>
        <pc:grpChg chg="add mod">
          <ac:chgData name="Jan K" userId="d066db4a5de46abf" providerId="LiveId" clId="{B1733AD1-BED1-4C71-B004-3296BFE0AA74}" dt="2024-11-21T17:23:11.692" v="459" actId="1076"/>
          <ac:grpSpMkLst>
            <pc:docMk/>
            <pc:sldMk cId="4276762234" sldId="268"/>
            <ac:grpSpMk id="31" creationId="{7D9815B8-ADC3-39E7-2771-6BCFA2030DE1}"/>
          </ac:grpSpMkLst>
        </pc:grpChg>
        <pc:grpChg chg="add mod">
          <ac:chgData name="Jan K" userId="d066db4a5de46abf" providerId="LiveId" clId="{B1733AD1-BED1-4C71-B004-3296BFE0AA74}" dt="2024-11-21T21:47:24.747" v="756" actId="1076"/>
          <ac:grpSpMkLst>
            <pc:docMk/>
            <pc:sldMk cId="4276762234" sldId="268"/>
            <ac:grpSpMk id="32" creationId="{57B409E6-3309-EC2D-8F12-C04F0CD27253}"/>
          </ac:grpSpMkLst>
        </pc:grpChg>
        <pc:grpChg chg="add mod">
          <ac:chgData name="Jan K" userId="d066db4a5de46abf" providerId="LiveId" clId="{B1733AD1-BED1-4C71-B004-3296BFE0AA74}" dt="2024-11-21T17:25:51.545" v="489" actId="1076"/>
          <ac:grpSpMkLst>
            <pc:docMk/>
            <pc:sldMk cId="4276762234" sldId="268"/>
            <ac:grpSpMk id="40" creationId="{5E4978E3-336D-4024-0776-059023285CD8}"/>
          </ac:grpSpMkLst>
        </pc:grpChg>
        <pc:grpChg chg="mod">
          <ac:chgData name="Jan K" userId="d066db4a5de46abf" providerId="LiveId" clId="{B1733AD1-BED1-4C71-B004-3296BFE0AA74}" dt="2024-11-21T17:25:11.579" v="478"/>
          <ac:grpSpMkLst>
            <pc:docMk/>
            <pc:sldMk cId="4276762234" sldId="268"/>
            <ac:grpSpMk id="45" creationId="{4604E433-A236-505E-0E0F-74AD0E2FDEE7}"/>
          </ac:grpSpMkLst>
        </pc:grpChg>
        <pc:grpChg chg="mod">
          <ac:chgData name="Jan K" userId="d066db4a5de46abf" providerId="LiveId" clId="{B1733AD1-BED1-4C71-B004-3296BFE0AA74}" dt="2024-11-21T17:24:32.711" v="468" actId="1076"/>
          <ac:grpSpMkLst>
            <pc:docMk/>
            <pc:sldMk cId="4276762234" sldId="268"/>
            <ac:grpSpMk id="48" creationId="{797D9C91-E8DE-E213-8F26-B94BA249A7EA}"/>
          </ac:grpSpMkLst>
        </pc:grpChg>
        <pc:grpChg chg="mod">
          <ac:chgData name="Jan K" userId="d066db4a5de46abf" providerId="LiveId" clId="{B1733AD1-BED1-4C71-B004-3296BFE0AA74}" dt="2024-11-21T17:25:11.579" v="478"/>
          <ac:grpSpMkLst>
            <pc:docMk/>
            <pc:sldMk cId="4276762234" sldId="268"/>
            <ac:grpSpMk id="2049" creationId="{5C50A74C-B677-056E-B863-2C68458F3C6D}"/>
          </ac:grpSpMkLst>
        </pc:grpChg>
        <pc:grpChg chg="add mod">
          <ac:chgData name="Jan K" userId="d066db4a5de46abf" providerId="LiveId" clId="{B1733AD1-BED1-4C71-B004-3296BFE0AA74}" dt="2024-11-21T17:33:44.453" v="598" actId="1076"/>
          <ac:grpSpMkLst>
            <pc:docMk/>
            <pc:sldMk cId="4276762234" sldId="268"/>
            <ac:grpSpMk id="2058" creationId="{A1A191A2-36B7-4AC5-74A7-24FADE34F624}"/>
          </ac:grpSpMkLst>
        </pc:grpChg>
        <pc:grpChg chg="mod">
          <ac:chgData name="Jan K" userId="d066db4a5de46abf" providerId="LiveId" clId="{B1733AD1-BED1-4C71-B004-3296BFE0AA74}" dt="2024-11-21T17:26:34.735" v="495"/>
          <ac:grpSpMkLst>
            <pc:docMk/>
            <pc:sldMk cId="4276762234" sldId="268"/>
            <ac:grpSpMk id="2060" creationId="{C6D0DD7C-8E67-35F7-F13E-34F6F180BB53}"/>
          </ac:grpSpMkLst>
        </pc:grpChg>
        <pc:grpChg chg="mod">
          <ac:chgData name="Jan K" userId="d066db4a5de46abf" providerId="LiveId" clId="{B1733AD1-BED1-4C71-B004-3296BFE0AA74}" dt="2024-11-21T17:26:34.735" v="495"/>
          <ac:grpSpMkLst>
            <pc:docMk/>
            <pc:sldMk cId="4276762234" sldId="268"/>
            <ac:grpSpMk id="2065" creationId="{0D441A35-B729-C23E-7818-B52A4BBCDE8E}"/>
          </ac:grpSpMkLst>
        </pc:grpChg>
        <pc:grpChg chg="add mod">
          <ac:chgData name="Jan K" userId="d066db4a5de46abf" providerId="LiveId" clId="{B1733AD1-BED1-4C71-B004-3296BFE0AA74}" dt="2024-11-21T17:38:49.459" v="629" actId="1076"/>
          <ac:grpSpMkLst>
            <pc:docMk/>
            <pc:sldMk cId="4276762234" sldId="268"/>
            <ac:grpSpMk id="2080" creationId="{2049DC23-64E3-93DF-11B0-FAB5E09589D5}"/>
          </ac:grpSpMkLst>
        </pc:grpChg>
        <pc:grpChg chg="mod">
          <ac:chgData name="Jan K" userId="d066db4a5de46abf" providerId="LiveId" clId="{B1733AD1-BED1-4C71-B004-3296BFE0AA74}" dt="2024-11-21T17:27:07.833" v="508"/>
          <ac:grpSpMkLst>
            <pc:docMk/>
            <pc:sldMk cId="4276762234" sldId="268"/>
            <ac:grpSpMk id="2084" creationId="{609D72EB-3DB5-6938-3EF7-28E4ECAD56CC}"/>
          </ac:grpSpMkLst>
        </pc:grpChg>
        <pc:grpChg chg="del mod">
          <ac:chgData name="Jan K" userId="d066db4a5de46abf" providerId="LiveId" clId="{B1733AD1-BED1-4C71-B004-3296BFE0AA74}" dt="2024-11-21T17:27:47.735" v="523" actId="478"/>
          <ac:grpSpMkLst>
            <pc:docMk/>
            <pc:sldMk cId="4276762234" sldId="268"/>
            <ac:grpSpMk id="2090" creationId="{15C05615-1DE0-87A1-C010-451AC15AA88A}"/>
          </ac:grpSpMkLst>
        </pc:grpChg>
        <pc:grpChg chg="add del mod">
          <ac:chgData name="Jan K" userId="d066db4a5de46abf" providerId="LiveId" clId="{B1733AD1-BED1-4C71-B004-3296BFE0AA74}" dt="2024-11-21T17:28:31.089" v="530" actId="165"/>
          <ac:grpSpMkLst>
            <pc:docMk/>
            <pc:sldMk cId="4276762234" sldId="268"/>
            <ac:grpSpMk id="2099" creationId="{26A52320-5E74-5B90-29F3-1BF7E7D1D6A0}"/>
          </ac:grpSpMkLst>
        </pc:grpChg>
        <pc:grpChg chg="del mod topLvl">
          <ac:chgData name="Jan K" userId="d066db4a5de46abf" providerId="LiveId" clId="{B1733AD1-BED1-4C71-B004-3296BFE0AA74}" dt="2024-11-21T17:28:51.804" v="535" actId="478"/>
          <ac:grpSpMkLst>
            <pc:docMk/>
            <pc:sldMk cId="4276762234" sldId="268"/>
            <ac:grpSpMk id="2102" creationId="{93C421DC-5879-B59E-1957-E48DB7EA6FE0}"/>
          </ac:grpSpMkLst>
        </pc:grpChg>
        <pc:grpChg chg="add mod">
          <ac:chgData name="Jan K" userId="d066db4a5de46abf" providerId="LiveId" clId="{B1733AD1-BED1-4C71-B004-3296BFE0AA74}" dt="2024-11-21T17:39:14.235" v="636" actId="1076"/>
          <ac:grpSpMkLst>
            <pc:docMk/>
            <pc:sldMk cId="4276762234" sldId="268"/>
            <ac:grpSpMk id="2107" creationId="{9A0259D9-2345-3B49-486F-CC9CB146E5A3}"/>
          </ac:grpSpMkLst>
        </pc:grpChg>
        <pc:grpChg chg="add mod">
          <ac:chgData name="Jan K" userId="d066db4a5de46abf" providerId="LiveId" clId="{B1733AD1-BED1-4C71-B004-3296BFE0AA74}" dt="2024-11-21T17:38:58.509" v="633" actId="1076"/>
          <ac:grpSpMkLst>
            <pc:docMk/>
            <pc:sldMk cId="4276762234" sldId="268"/>
            <ac:grpSpMk id="2108" creationId="{32ECAEDF-20DF-8808-7AD6-18DB353C48D7}"/>
          </ac:grpSpMkLst>
        </pc:grpChg>
        <pc:grpChg chg="add mod">
          <ac:chgData name="Jan K" userId="d066db4a5de46abf" providerId="LiveId" clId="{B1733AD1-BED1-4C71-B004-3296BFE0AA74}" dt="2024-11-21T17:29:23.203" v="543" actId="688"/>
          <ac:grpSpMkLst>
            <pc:docMk/>
            <pc:sldMk cId="4276762234" sldId="268"/>
            <ac:grpSpMk id="2112" creationId="{67EFE831-A0CC-2D3C-5234-27BB78C9F001}"/>
          </ac:grpSpMkLst>
        </pc:grpChg>
        <pc:grpChg chg="mod">
          <ac:chgData name="Jan K" userId="d066db4a5de46abf" providerId="LiveId" clId="{B1733AD1-BED1-4C71-B004-3296BFE0AA74}" dt="2024-11-21T17:29:18.680" v="541"/>
          <ac:grpSpMkLst>
            <pc:docMk/>
            <pc:sldMk cId="4276762234" sldId="268"/>
            <ac:grpSpMk id="2125" creationId="{E55D0E19-619A-1157-E361-56EB2245FD31}"/>
          </ac:grpSpMkLst>
        </pc:grpChg>
        <pc:grpChg chg="add mod">
          <ac:chgData name="Jan K" userId="d066db4a5de46abf" providerId="LiveId" clId="{B1733AD1-BED1-4C71-B004-3296BFE0AA74}" dt="2024-11-21T17:31:40.082" v="569" actId="164"/>
          <ac:grpSpMkLst>
            <pc:docMk/>
            <pc:sldMk cId="4276762234" sldId="268"/>
            <ac:grpSpMk id="2129" creationId="{C3D2DE59-EFCF-14E6-939F-A4EAD08F06D5}"/>
          </ac:grpSpMkLst>
        </pc:grpChg>
        <pc:grpChg chg="mod">
          <ac:chgData name="Jan K" userId="d066db4a5de46abf" providerId="LiveId" clId="{B1733AD1-BED1-4C71-B004-3296BFE0AA74}" dt="2024-11-21T17:29:28.202" v="544"/>
          <ac:grpSpMkLst>
            <pc:docMk/>
            <pc:sldMk cId="4276762234" sldId="268"/>
            <ac:grpSpMk id="2131" creationId="{4689E236-FBDC-DF4E-4549-77BDD7C8A6B5}"/>
          </ac:grpSpMkLst>
        </pc:grpChg>
        <pc:grpChg chg="mod">
          <ac:chgData name="Jan K" userId="d066db4a5de46abf" providerId="LiveId" clId="{B1733AD1-BED1-4C71-B004-3296BFE0AA74}" dt="2024-11-21T17:29:28.202" v="544"/>
          <ac:grpSpMkLst>
            <pc:docMk/>
            <pc:sldMk cId="4276762234" sldId="268"/>
            <ac:grpSpMk id="2136" creationId="{DB805CDB-CBC7-A09D-5192-98D6D76653F5}"/>
          </ac:grpSpMkLst>
        </pc:grpChg>
        <pc:grpChg chg="del">
          <ac:chgData name="Jan K" userId="d066db4a5de46abf" providerId="LiveId" clId="{B1733AD1-BED1-4C71-B004-3296BFE0AA74}" dt="2024-11-21T17:24:44.188" v="475" actId="478"/>
          <ac:grpSpMkLst>
            <pc:docMk/>
            <pc:sldMk cId="4276762234" sldId="268"/>
            <ac:grpSpMk id="2138" creationId="{DC19F3CD-7131-CEE4-9241-3A5FA8BFABFD}"/>
          </ac:grpSpMkLst>
        </pc:grpChg>
        <pc:grpChg chg="add mod ord">
          <ac:chgData name="Jan K" userId="d066db4a5de46abf" providerId="LiveId" clId="{B1733AD1-BED1-4C71-B004-3296BFE0AA74}" dt="2024-11-21T17:33:28.919" v="596" actId="166"/>
          <ac:grpSpMkLst>
            <pc:docMk/>
            <pc:sldMk cId="4276762234" sldId="268"/>
            <ac:grpSpMk id="2149" creationId="{C16E52BF-DE6B-554B-2458-EB64129835B4}"/>
          </ac:grpSpMkLst>
        </pc:grpChg>
        <pc:grpChg chg="add mod">
          <ac:chgData name="Jan K" userId="d066db4a5de46abf" providerId="LiveId" clId="{B1733AD1-BED1-4C71-B004-3296BFE0AA74}" dt="2024-11-21T17:49:05.972" v="719" actId="1076"/>
          <ac:grpSpMkLst>
            <pc:docMk/>
            <pc:sldMk cId="4276762234" sldId="268"/>
            <ac:grpSpMk id="2154" creationId="{2FB57093-0FA4-FEF3-E145-C3F3DBD3A89D}"/>
          </ac:grpSpMkLst>
        </pc:grpChg>
        <pc:grpChg chg="add mod">
          <ac:chgData name="Jan K" userId="d066db4a5de46abf" providerId="LiveId" clId="{B1733AD1-BED1-4C71-B004-3296BFE0AA74}" dt="2024-11-21T17:32:46.719" v="582" actId="1076"/>
          <ac:grpSpMkLst>
            <pc:docMk/>
            <pc:sldMk cId="4276762234" sldId="268"/>
            <ac:grpSpMk id="2157" creationId="{B9D0B547-A4C5-9D00-DDAB-2D2923D72301}"/>
          </ac:grpSpMkLst>
        </pc:grpChg>
        <pc:grpChg chg="add mod">
          <ac:chgData name="Jan K" userId="d066db4a5de46abf" providerId="LiveId" clId="{B1733AD1-BED1-4C71-B004-3296BFE0AA74}" dt="2024-11-21T21:47:08.821" v="753" actId="164"/>
          <ac:grpSpMkLst>
            <pc:docMk/>
            <pc:sldMk cId="4276762234" sldId="268"/>
            <ac:grpSpMk id="2162" creationId="{38E2D0FC-C6D8-132F-29AE-F631812012B1}"/>
          </ac:grpSpMkLst>
        </pc:grpChg>
        <pc:grpChg chg="mod">
          <ac:chgData name="Jan K" userId="d066db4a5de46abf" providerId="LiveId" clId="{B1733AD1-BED1-4C71-B004-3296BFE0AA74}" dt="2024-11-21T17:33:59.862" v="599"/>
          <ac:grpSpMkLst>
            <pc:docMk/>
            <pc:sldMk cId="4276762234" sldId="268"/>
            <ac:grpSpMk id="2163" creationId="{B56BA1E4-CE27-E63F-459D-791D5DAAA296}"/>
          </ac:grpSpMkLst>
        </pc:grpChg>
        <pc:grpChg chg="mod">
          <ac:chgData name="Jan K" userId="d066db4a5de46abf" providerId="LiveId" clId="{B1733AD1-BED1-4C71-B004-3296BFE0AA74}" dt="2024-11-21T17:33:59.862" v="599"/>
          <ac:grpSpMkLst>
            <pc:docMk/>
            <pc:sldMk cId="4276762234" sldId="268"/>
            <ac:grpSpMk id="2167" creationId="{E8EBF5CC-8259-66FD-6FC2-7309F7A032B8}"/>
          </ac:grpSpMkLst>
        </pc:grpChg>
        <pc:grpChg chg="add mod">
          <ac:chgData name="Jan K" userId="d066db4a5de46abf" providerId="LiveId" clId="{B1733AD1-BED1-4C71-B004-3296BFE0AA74}" dt="2024-11-21T17:47:02.745" v="713" actId="1076"/>
          <ac:grpSpMkLst>
            <pc:docMk/>
            <pc:sldMk cId="4276762234" sldId="268"/>
            <ac:grpSpMk id="2170" creationId="{2BCDC050-4CA7-EA76-54F0-FCA202808C87}"/>
          </ac:grpSpMkLst>
        </pc:grpChg>
        <pc:grpChg chg="add del mod">
          <ac:chgData name="Jan K" userId="d066db4a5de46abf" providerId="LiveId" clId="{B1733AD1-BED1-4C71-B004-3296BFE0AA74}" dt="2024-11-21T17:38:19.915" v="619" actId="478"/>
          <ac:grpSpMkLst>
            <pc:docMk/>
            <pc:sldMk cId="4276762234" sldId="268"/>
            <ac:grpSpMk id="2173" creationId="{9D1E872D-8631-9874-9BC8-32563F31074F}"/>
          </ac:grpSpMkLst>
        </pc:grpChg>
        <pc:grpChg chg="add mod">
          <ac:chgData name="Jan K" userId="d066db4a5de46abf" providerId="LiveId" clId="{B1733AD1-BED1-4C71-B004-3296BFE0AA74}" dt="2024-11-21T17:47:04.716" v="714" actId="1076"/>
          <ac:grpSpMkLst>
            <pc:docMk/>
            <pc:sldMk cId="4276762234" sldId="268"/>
            <ac:grpSpMk id="2178" creationId="{A7EFE875-7F6D-E317-E703-4F25F1A0CF5B}"/>
          </ac:grpSpMkLst>
        </pc:grpChg>
        <pc:grpChg chg="add mod">
          <ac:chgData name="Jan K" userId="d066db4a5de46abf" providerId="LiveId" clId="{B1733AD1-BED1-4C71-B004-3296BFE0AA74}" dt="2024-11-21T17:42:01.044" v="665" actId="1076"/>
          <ac:grpSpMkLst>
            <pc:docMk/>
            <pc:sldMk cId="4276762234" sldId="268"/>
            <ac:grpSpMk id="2198" creationId="{5E82AC15-8123-5D4B-6CCC-AACA673DC3CB}"/>
          </ac:grpSpMkLst>
        </pc:grpChg>
        <pc:grpChg chg="add mod">
          <ac:chgData name="Jan K" userId="d066db4a5de46abf" providerId="LiveId" clId="{B1733AD1-BED1-4C71-B004-3296BFE0AA74}" dt="2024-11-21T17:42:04.386" v="667" actId="1076"/>
          <ac:grpSpMkLst>
            <pc:docMk/>
            <pc:sldMk cId="4276762234" sldId="268"/>
            <ac:grpSpMk id="2201" creationId="{DBCBE3D8-C645-90AC-5AAB-4DE3AB12A1FF}"/>
          </ac:grpSpMkLst>
        </pc:grpChg>
        <pc:grpChg chg="add mod">
          <ac:chgData name="Jan K" userId="d066db4a5de46abf" providerId="LiveId" clId="{B1733AD1-BED1-4C71-B004-3296BFE0AA74}" dt="2024-11-21T17:44:53.978" v="699" actId="1076"/>
          <ac:grpSpMkLst>
            <pc:docMk/>
            <pc:sldMk cId="4276762234" sldId="268"/>
            <ac:grpSpMk id="2207" creationId="{865922E1-69BA-E8A2-241C-31BB8D723CF3}"/>
          </ac:grpSpMkLst>
        </pc:grpChg>
        <pc:grpChg chg="mod">
          <ac:chgData name="Jan K" userId="d066db4a5de46abf" providerId="LiveId" clId="{B1733AD1-BED1-4C71-B004-3296BFE0AA74}" dt="2024-11-21T17:43:52.340" v="684"/>
          <ac:grpSpMkLst>
            <pc:docMk/>
            <pc:sldMk cId="4276762234" sldId="268"/>
            <ac:grpSpMk id="2208" creationId="{027F1F63-2371-C7C2-ACF9-33791E38F8B5}"/>
          </ac:grpSpMkLst>
        </pc:grpChg>
        <pc:grpChg chg="del mod">
          <ac:chgData name="Jan K" userId="d066db4a5de46abf" providerId="LiveId" clId="{B1733AD1-BED1-4C71-B004-3296BFE0AA74}" dt="2024-11-21T17:44:10.860" v="691" actId="478"/>
          <ac:grpSpMkLst>
            <pc:docMk/>
            <pc:sldMk cId="4276762234" sldId="268"/>
            <ac:grpSpMk id="2212" creationId="{620D1CE8-B1DC-3BE2-1DD0-6B1A3E52FBC3}"/>
          </ac:grpSpMkLst>
        </pc:grpChg>
        <pc:grpChg chg="add mod">
          <ac:chgData name="Jan K" userId="d066db4a5de46abf" providerId="LiveId" clId="{B1733AD1-BED1-4C71-B004-3296BFE0AA74}" dt="2024-11-21T17:52:19.353" v="735" actId="1076"/>
          <ac:grpSpMkLst>
            <pc:docMk/>
            <pc:sldMk cId="4276762234" sldId="268"/>
            <ac:grpSpMk id="2234" creationId="{03B7F013-BD35-D5A4-B20D-8FE24C30004C}"/>
          </ac:grpSpMkLst>
        </pc:grpChg>
        <pc:grpChg chg="mod">
          <ac:chgData name="Jan K" userId="d066db4a5de46abf" providerId="LiveId" clId="{B1733AD1-BED1-4C71-B004-3296BFE0AA74}" dt="2024-11-21T17:52:16.377" v="734"/>
          <ac:grpSpMkLst>
            <pc:docMk/>
            <pc:sldMk cId="4276762234" sldId="268"/>
            <ac:grpSpMk id="2235" creationId="{DDA20774-F3EC-EFC4-1B76-A17B6660CFDC}"/>
          </ac:grpSpMkLst>
        </pc:grpChg>
        <pc:picChg chg="mod">
          <ac:chgData name="Jan K" userId="d066db4a5de46abf" providerId="LiveId" clId="{B1733AD1-BED1-4C71-B004-3296BFE0AA74}" dt="2024-11-21T17:44:36.323" v="696" actId="1076"/>
          <ac:picMkLst>
            <pc:docMk/>
            <pc:sldMk cId="4276762234" sldId="268"/>
            <ac:picMk id="2050" creationId="{91EEF778-90D5-E970-8791-694965EC3327}"/>
          </ac:picMkLst>
        </pc:picChg>
        <pc:cxnChg chg="del">
          <ac:chgData name="Jan K" userId="d066db4a5de46abf" providerId="LiveId" clId="{B1733AD1-BED1-4C71-B004-3296BFE0AA74}" dt="2024-11-21T17:24:35.479" v="470" actId="478"/>
          <ac:cxnSpMkLst>
            <pc:docMk/>
            <pc:sldMk cId="4276762234" sldId="268"/>
            <ac:cxnSpMk id="2" creationId="{8A582AC3-4A9A-840B-25A7-C90CD1484680}"/>
          </ac:cxnSpMkLst>
        </pc:cxnChg>
        <pc:cxnChg chg="mod">
          <ac:chgData name="Jan K" userId="d066db4a5de46abf" providerId="LiveId" clId="{B1733AD1-BED1-4C71-B004-3296BFE0AA74}" dt="2024-11-21T17:30:04.730" v="547" actId="1076"/>
          <ac:cxnSpMkLst>
            <pc:docMk/>
            <pc:sldMk cId="4276762234" sldId="268"/>
            <ac:cxnSpMk id="3" creationId="{4CF47424-1CEE-A9E0-BB7C-5108034C1B34}"/>
          </ac:cxnSpMkLst>
        </pc:cxnChg>
        <pc:cxnChg chg="add mod">
          <ac:chgData name="Jan K" userId="d066db4a5de46abf" providerId="LiveId" clId="{B1733AD1-BED1-4C71-B004-3296BFE0AA74}" dt="2024-11-21T21:47:50.198" v="762" actId="14100"/>
          <ac:cxnSpMkLst>
            <pc:docMk/>
            <pc:sldMk cId="4276762234" sldId="268"/>
            <ac:cxnSpMk id="33" creationId="{1C50437B-961F-FB73-3B88-51E1612B34E9}"/>
          </ac:cxnSpMkLst>
        </pc:cxnChg>
        <pc:cxnChg chg="del">
          <ac:chgData name="Jan K" userId="d066db4a5de46abf" providerId="LiveId" clId="{B1733AD1-BED1-4C71-B004-3296BFE0AA74}" dt="2024-11-21T17:24:35.996" v="471" actId="478"/>
          <ac:cxnSpMkLst>
            <pc:docMk/>
            <pc:sldMk cId="4276762234" sldId="268"/>
            <ac:cxnSpMk id="43" creationId="{0DC414E3-9E23-4C41-838F-07A6777E97BA}"/>
          </ac:cxnSpMkLst>
        </pc:cxnChg>
        <pc:cxnChg chg="del">
          <ac:chgData name="Jan K" userId="d066db4a5de46abf" providerId="LiveId" clId="{B1733AD1-BED1-4C71-B004-3296BFE0AA74}" dt="2024-11-21T17:24:38.331" v="473" actId="478"/>
          <ac:cxnSpMkLst>
            <pc:docMk/>
            <pc:sldMk cId="4276762234" sldId="268"/>
            <ac:cxnSpMk id="47" creationId="{DBE2EDA4-40CD-EA2C-3B14-CCAC5B1DFBA2}"/>
          </ac:cxnSpMkLst>
        </pc:cxnChg>
        <pc:cxnChg chg="add mod">
          <ac:chgData name="Jan K" userId="d066db4a5de46abf" providerId="LiveId" clId="{B1733AD1-BED1-4C71-B004-3296BFE0AA74}" dt="2024-11-21T17:41:53.320" v="663" actId="14100"/>
          <ac:cxnSpMkLst>
            <pc:docMk/>
            <pc:sldMk cId="4276762234" sldId="268"/>
            <ac:cxnSpMk id="2057" creationId="{2FEC677A-07DD-504B-4684-7524B114E35E}"/>
          </ac:cxnSpMkLst>
        </pc:cxnChg>
        <pc:cxnChg chg="mod">
          <ac:chgData name="Jan K" userId="d066db4a5de46abf" providerId="LiveId" clId="{B1733AD1-BED1-4C71-B004-3296BFE0AA74}" dt="2024-11-21T17:24:32.711" v="468" actId="1076"/>
          <ac:cxnSpMkLst>
            <pc:docMk/>
            <pc:sldMk cId="4276762234" sldId="268"/>
            <ac:cxnSpMk id="2087" creationId="{3271340A-963A-9E24-B05E-88DC29097AED}"/>
          </ac:cxnSpMkLst>
        </pc:cxnChg>
        <pc:cxnChg chg="add del mod">
          <ac:chgData name="Jan K" userId="d066db4a5de46abf" providerId="LiveId" clId="{B1733AD1-BED1-4C71-B004-3296BFE0AA74}" dt="2024-11-21T17:40:15.198" v="654" actId="478"/>
          <ac:cxnSpMkLst>
            <pc:docMk/>
            <pc:sldMk cId="4276762234" sldId="268"/>
            <ac:cxnSpMk id="2095" creationId="{0745B8EA-44DE-894C-555B-83C34AF952B9}"/>
          </ac:cxnSpMkLst>
        </pc:cxnChg>
        <pc:cxnChg chg="del">
          <ac:chgData name="Jan K" userId="d066db4a5de46abf" providerId="LiveId" clId="{B1733AD1-BED1-4C71-B004-3296BFE0AA74}" dt="2024-11-21T17:24:12.935" v="465" actId="478"/>
          <ac:cxnSpMkLst>
            <pc:docMk/>
            <pc:sldMk cId="4276762234" sldId="268"/>
            <ac:cxnSpMk id="2096" creationId="{7AC7213F-F78C-BC99-90C5-070ED8CE3543}"/>
          </ac:cxnSpMkLst>
        </pc:cxnChg>
        <pc:cxnChg chg="del">
          <ac:chgData name="Jan K" userId="d066db4a5de46abf" providerId="LiveId" clId="{B1733AD1-BED1-4C71-B004-3296BFE0AA74}" dt="2024-11-21T17:24:11.759" v="464" actId="478"/>
          <ac:cxnSpMkLst>
            <pc:docMk/>
            <pc:sldMk cId="4276762234" sldId="268"/>
            <ac:cxnSpMk id="2098" creationId="{FCA3266F-B9EC-0AAB-3747-391B192356E2}"/>
          </ac:cxnSpMkLst>
        </pc:cxnChg>
        <pc:cxnChg chg="del">
          <ac:chgData name="Jan K" userId="d066db4a5de46abf" providerId="LiveId" clId="{B1733AD1-BED1-4C71-B004-3296BFE0AA74}" dt="2024-11-21T17:27:34.623" v="519" actId="478"/>
          <ac:cxnSpMkLst>
            <pc:docMk/>
            <pc:sldMk cId="4276762234" sldId="268"/>
            <ac:cxnSpMk id="2104" creationId="{6C8D13FA-9511-C71D-D647-33D04D233424}"/>
          </ac:cxnSpMkLst>
        </pc:cxnChg>
        <pc:cxnChg chg="del">
          <ac:chgData name="Jan K" userId="d066db4a5de46abf" providerId="LiveId" clId="{B1733AD1-BED1-4C71-B004-3296BFE0AA74}" dt="2024-11-21T17:24:55.976" v="476" actId="478"/>
          <ac:cxnSpMkLst>
            <pc:docMk/>
            <pc:sldMk cId="4276762234" sldId="268"/>
            <ac:cxnSpMk id="2106" creationId="{2247A859-C689-612C-63A2-582C27652AC0}"/>
          </ac:cxnSpMkLst>
        </pc:cxnChg>
        <pc:cxnChg chg="del">
          <ac:chgData name="Jan K" userId="d066db4a5de46abf" providerId="LiveId" clId="{B1733AD1-BED1-4C71-B004-3296BFE0AA74}" dt="2024-11-21T17:24:57.266" v="477" actId="478"/>
          <ac:cxnSpMkLst>
            <pc:docMk/>
            <pc:sldMk cId="4276762234" sldId="268"/>
            <ac:cxnSpMk id="2109" creationId="{5857C048-394B-E78D-408B-71F5F07373C1}"/>
          </ac:cxnSpMkLst>
        </pc:cxnChg>
        <pc:cxnChg chg="mod">
          <ac:chgData name="Jan K" userId="d066db4a5de46abf" providerId="LiveId" clId="{B1733AD1-BED1-4C71-B004-3296BFE0AA74}" dt="2024-11-21T17:41:50.927" v="662" actId="14100"/>
          <ac:cxnSpMkLst>
            <pc:docMk/>
            <pc:sldMk cId="4276762234" sldId="268"/>
            <ac:cxnSpMk id="2124" creationId="{0A4B524A-6305-B9D4-BDBE-B828E13AC6D2}"/>
          </ac:cxnSpMkLst>
        </pc:cxnChg>
        <pc:cxnChg chg="del">
          <ac:chgData name="Jan K" userId="d066db4a5de46abf" providerId="LiveId" clId="{B1733AD1-BED1-4C71-B004-3296BFE0AA74}" dt="2024-11-21T17:27:36.126" v="520" actId="478"/>
          <ac:cxnSpMkLst>
            <pc:docMk/>
            <pc:sldMk cId="4276762234" sldId="268"/>
            <ac:cxnSpMk id="2130" creationId="{9330894B-A3C4-02EF-8CF6-9134BB72FDFB}"/>
          </ac:cxnSpMkLst>
        </pc:cxnChg>
        <pc:cxnChg chg="mod">
          <ac:chgData name="Jan K" userId="d066db4a5de46abf" providerId="LiveId" clId="{B1733AD1-BED1-4C71-B004-3296BFE0AA74}" dt="2024-11-21T17:32:19.239" v="573" actId="1076"/>
          <ac:cxnSpMkLst>
            <pc:docMk/>
            <pc:sldMk cId="4276762234" sldId="268"/>
            <ac:cxnSpMk id="2132" creationId="{72793BA1-46C4-21C9-3B4E-388012FCF7C3}"/>
          </ac:cxnSpMkLst>
        </pc:cxnChg>
        <pc:cxnChg chg="add mod">
          <ac:chgData name="Jan K" userId="d066db4a5de46abf" providerId="LiveId" clId="{B1733AD1-BED1-4C71-B004-3296BFE0AA74}" dt="2024-11-21T17:49:05.972" v="719" actId="1076"/>
          <ac:cxnSpMkLst>
            <pc:docMk/>
            <pc:sldMk cId="4276762234" sldId="268"/>
            <ac:cxnSpMk id="2151" creationId="{C45F0E80-F0C6-1A35-8B01-2586CCD73276}"/>
          </ac:cxnSpMkLst>
        </pc:cxnChg>
        <pc:cxnChg chg="add mod">
          <ac:chgData name="Jan K" userId="d066db4a5de46abf" providerId="LiveId" clId="{B1733AD1-BED1-4C71-B004-3296BFE0AA74}" dt="2024-11-21T17:33:15.893" v="593" actId="208"/>
          <ac:cxnSpMkLst>
            <pc:docMk/>
            <pc:sldMk cId="4276762234" sldId="268"/>
            <ac:cxnSpMk id="2160" creationId="{998313B1-1202-B6A1-384C-A18A07AE4027}"/>
          </ac:cxnSpMkLst>
        </pc:cxnChg>
        <pc:cxnChg chg="add del mod">
          <ac:chgData name="Jan K" userId="d066db4a5de46abf" providerId="LiveId" clId="{B1733AD1-BED1-4C71-B004-3296BFE0AA74}" dt="2024-11-21T17:39:25.559" v="640" actId="478"/>
          <ac:cxnSpMkLst>
            <pc:docMk/>
            <pc:sldMk cId="4276762234" sldId="268"/>
            <ac:cxnSpMk id="2182" creationId="{DB89A6E3-14A1-6A00-A3E1-DDC1F42CC579}"/>
          </ac:cxnSpMkLst>
        </pc:cxnChg>
        <pc:cxnChg chg="add mod">
          <ac:chgData name="Jan K" userId="d066db4a5de46abf" providerId="LiveId" clId="{B1733AD1-BED1-4C71-B004-3296BFE0AA74}" dt="2024-11-21T17:50:14.617" v="721" actId="208"/>
          <ac:cxnSpMkLst>
            <pc:docMk/>
            <pc:sldMk cId="4276762234" sldId="268"/>
            <ac:cxnSpMk id="2185" creationId="{09433898-830B-4518-BC07-370E7EA47545}"/>
          </ac:cxnSpMkLst>
        </pc:cxnChg>
        <pc:cxnChg chg="add mod">
          <ac:chgData name="Jan K" userId="d066db4a5de46abf" providerId="LiveId" clId="{B1733AD1-BED1-4C71-B004-3296BFE0AA74}" dt="2024-11-21T17:50:18.459" v="722" actId="208"/>
          <ac:cxnSpMkLst>
            <pc:docMk/>
            <pc:sldMk cId="4276762234" sldId="268"/>
            <ac:cxnSpMk id="2188" creationId="{B3053AD8-D013-1F4C-D428-4AD0369B3E5C}"/>
          </ac:cxnSpMkLst>
        </pc:cxnChg>
        <pc:cxnChg chg="add mod">
          <ac:chgData name="Jan K" userId="d066db4a5de46abf" providerId="LiveId" clId="{B1733AD1-BED1-4C71-B004-3296BFE0AA74}" dt="2024-11-21T17:40:24.996" v="657" actId="1582"/>
          <ac:cxnSpMkLst>
            <pc:docMk/>
            <pc:sldMk cId="4276762234" sldId="268"/>
            <ac:cxnSpMk id="2191" creationId="{C5824DF0-BC2F-EDD8-7351-7C633831AECD}"/>
          </ac:cxnSpMkLst>
        </pc:cxnChg>
        <pc:cxnChg chg="add mod">
          <ac:chgData name="Jan K" userId="d066db4a5de46abf" providerId="LiveId" clId="{B1733AD1-BED1-4C71-B004-3296BFE0AA74}" dt="2024-11-21T17:49:08.261" v="720" actId="14100"/>
          <ac:cxnSpMkLst>
            <pc:docMk/>
            <pc:sldMk cId="4276762234" sldId="268"/>
            <ac:cxnSpMk id="2217" creationId="{EA64C112-6590-5D5D-F310-656E46CE67D2}"/>
          </ac:cxnSpMkLst>
        </pc:cxnChg>
        <pc:cxnChg chg="add mod">
          <ac:chgData name="Jan K" userId="d066db4a5de46abf" providerId="LiveId" clId="{B1733AD1-BED1-4C71-B004-3296BFE0AA74}" dt="2024-11-21T17:52:41.824" v="746" actId="14100"/>
          <ac:cxnSpMkLst>
            <pc:docMk/>
            <pc:sldMk cId="4276762234" sldId="268"/>
            <ac:cxnSpMk id="2230" creationId="{183C2758-7FAA-24AE-1569-94759E3412BF}"/>
          </ac:cxnSpMkLst>
        </pc:cxn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60FB70-4477-4AB3-9888-A31104B7E1BE}" type="datetimeFigureOut">
              <a:rPr lang="en-US" smtClean="0"/>
              <a:t>11/21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7975E4-9BC1-420F-A23A-FC44F25249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86447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7975E4-9BC1-420F-A23A-FC44F25249D3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75017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7975E4-9BC1-420F-A23A-FC44F25249D3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65601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0" name="Picture 98" descr="C:\screenmakers\Kunden\kleinerundbold\Henkes_HSB_Master\PPT_Klassisch\Bilder\PPT-16_9\160222 PPT-Pra╠êsentation wide Titel 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725" y="0"/>
            <a:ext cx="12205725" cy="6865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5217754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4434" y="3679965"/>
            <a:ext cx="11523133" cy="9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333162" y="4821155"/>
            <a:ext cx="11524404" cy="2880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cxnSp>
        <p:nvCxnSpPr>
          <p:cNvPr id="8" name="Gerade Verbindung 7"/>
          <p:cNvCxnSpPr/>
          <p:nvPr/>
        </p:nvCxnSpPr>
        <p:spPr bwMode="gray">
          <a:xfrm flipH="1">
            <a:off x="-480731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 bwMode="gray">
          <a:xfrm flipH="1">
            <a:off x="12336694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/>
        </p:nvCxnSpPr>
        <p:spPr bwMode="gray">
          <a:xfrm rot="16200000" flipH="1">
            <a:off x="1173062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 bwMode="gray">
          <a:xfrm rot="16200000" flipH="1">
            <a:off x="6112358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582605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 bwMode="gray">
          <a:xfrm rot="16200000" flipH="1">
            <a:off x="20934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/>
        </p:nvCxnSpPr>
        <p:spPr bwMode="gray">
          <a:xfrm rot="16200000" flipH="1">
            <a:off x="11730626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/>
        </p:nvCxnSpPr>
        <p:spPr bwMode="gray">
          <a:xfrm rot="16200000" flipH="1">
            <a:off x="6112358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rot="16200000" flipH="1">
            <a:off x="5826054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rot="16200000" flipH="1">
            <a:off x="209347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/>
        </p:nvCxnSpPr>
        <p:spPr bwMode="gray">
          <a:xfrm flipH="1">
            <a:off x="-480731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 bwMode="gray">
          <a:xfrm flipH="1">
            <a:off x="12336694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71649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1955937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334433" y="596765"/>
            <a:ext cx="11520000" cy="72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>
          <a:xfrm>
            <a:off x="10037844" y="6357325"/>
            <a:ext cx="1020597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FA078936-32F4-4A2C-8CD4-8C02C956183F}" type="datetimeFigureOut">
              <a:rPr lang="en-DE" smtClean="0"/>
              <a:t>11/21/2024</a:t>
            </a:fld>
            <a:endParaRPr lang="en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>
          <a:xfrm>
            <a:off x="334433" y="6357325"/>
            <a:ext cx="9074019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>
          <a:xfrm>
            <a:off x="11333989" y="6357325"/>
            <a:ext cx="522652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394003CD-C4D4-4292-A74F-C2B95EAC5032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6683471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4371905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10037844" y="6357325"/>
            <a:ext cx="1020597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FA078936-32F4-4A2C-8CD4-8C02C956183F}" type="datetimeFigureOut">
              <a:rPr lang="en-DE" smtClean="0"/>
              <a:t>11/21/2024</a:t>
            </a:fld>
            <a:endParaRPr lang="en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 bwMode="gray">
          <a:xfrm>
            <a:off x="334433" y="6357325"/>
            <a:ext cx="9074019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11333989" y="6357325"/>
            <a:ext cx="522652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394003CD-C4D4-4292-A74F-C2B95EAC5032}" type="slidenum">
              <a:rPr lang="en-DE" smtClean="0"/>
              <a:t>‹#›</a:t>
            </a:fld>
            <a:endParaRPr lang="en-DE"/>
          </a:p>
        </p:txBody>
      </p:sp>
      <p:cxnSp>
        <p:nvCxnSpPr>
          <p:cNvPr id="12" name="Gerade Verbindung 11"/>
          <p:cNvCxnSpPr/>
          <p:nvPr/>
        </p:nvCxnSpPr>
        <p:spPr bwMode="gray">
          <a:xfrm flipH="1">
            <a:off x="-480731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/>
        </p:nvCxnSpPr>
        <p:spPr bwMode="gray">
          <a:xfrm flipH="1">
            <a:off x="12336694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rot="16200000" flipH="1">
            <a:off x="6112358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/>
        </p:nvCxnSpPr>
        <p:spPr bwMode="gray">
          <a:xfrm rot="16200000" flipH="1">
            <a:off x="582605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/>
        </p:nvCxnSpPr>
        <p:spPr bwMode="gray">
          <a:xfrm rot="16200000" flipH="1">
            <a:off x="6112358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/>
        </p:nvCxnSpPr>
        <p:spPr bwMode="gray">
          <a:xfrm rot="16200000" flipH="1">
            <a:off x="5826054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/>
        </p:nvCxnSpPr>
        <p:spPr bwMode="gray">
          <a:xfrm flipH="1">
            <a:off x="-480731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flipH="1">
            <a:off x="12336694" y="620869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/>
        </p:nvCxnSpPr>
        <p:spPr bwMode="gray">
          <a:xfrm rot="16200000" flipH="1">
            <a:off x="1173062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/>
          <p:nvPr/>
        </p:nvCxnSpPr>
        <p:spPr bwMode="gray">
          <a:xfrm rot="16200000" flipH="1">
            <a:off x="20934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/>
          <p:nvPr/>
        </p:nvCxnSpPr>
        <p:spPr bwMode="gray">
          <a:xfrm rot="16200000" flipH="1">
            <a:off x="11730626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/>
        </p:nvCxnSpPr>
        <p:spPr bwMode="gray">
          <a:xfrm rot="16200000" flipH="1">
            <a:off x="209347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91266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A62E8354-C884-4D66-9347-90E31E116CE9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6000" tIns="96000" rIns="96000" bIns="9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41294" indent="-241294" algn="ctr">
              <a:spcBef>
                <a:spcPts val="267"/>
              </a:spcBef>
              <a:buFont typeface="Calibri" panose="020F0502020204030204" pitchFamily="34" charset="0"/>
              <a:buChar char="▪"/>
            </a:pPr>
            <a:endParaRPr lang="en-DE" sz="1867" dirty="0" err="1"/>
          </a:p>
        </p:txBody>
      </p:sp>
    </p:spTree>
    <p:extLst>
      <p:ext uri="{BB962C8B-B14F-4D97-AF65-F5344CB8AC3E}">
        <p14:creationId xmlns:p14="http://schemas.microsoft.com/office/powerpoint/2010/main" val="34908378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95" name="Picture 99" descr="C:\screenmakers\Kunden\kleinerundbold\Henkes_HSB_Master\PPT_Klassisch\Bilder\PPT-16_9\160222 PPT-Pra╠êsentation wide Titel hinter Bild 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677"/>
            <a:ext cx="12194395" cy="6858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4793120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 bwMode="gray">
          <a:xfrm>
            <a:off x="0" y="1460500"/>
            <a:ext cx="12192000" cy="539750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335359" y="4557214"/>
            <a:ext cx="11521279" cy="97961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334434" y="5718016"/>
            <a:ext cx="11523132" cy="2880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b="0">
                <a:solidFill>
                  <a:schemeClr val="bg2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-480731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 bwMode="gray">
          <a:xfrm flipH="1">
            <a:off x="12336694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6112358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 bwMode="gray">
          <a:xfrm rot="16200000" flipH="1">
            <a:off x="582605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rot="16200000" flipH="1">
            <a:off x="6112358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rot="16200000" flipH="1">
            <a:off x="5826054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 bwMode="gray">
          <a:xfrm flipH="1">
            <a:off x="-480731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/>
        </p:nvCxnSpPr>
        <p:spPr bwMode="gray">
          <a:xfrm flipH="1">
            <a:off x="12336694" y="620869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/>
        </p:nvCxnSpPr>
        <p:spPr bwMode="gray">
          <a:xfrm rot="16200000" flipH="1">
            <a:off x="1173062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/>
        </p:nvCxnSpPr>
        <p:spPr bwMode="gray">
          <a:xfrm rot="16200000" flipH="1">
            <a:off x="20934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28"/>
          <p:cNvCxnSpPr/>
          <p:nvPr/>
        </p:nvCxnSpPr>
        <p:spPr bwMode="gray">
          <a:xfrm rot="16200000" flipH="1">
            <a:off x="11730626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/>
          <p:nvPr/>
        </p:nvCxnSpPr>
        <p:spPr bwMode="gray">
          <a:xfrm rot="16200000" flipH="1">
            <a:off x="209347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321833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18" name="Picture 98" descr="C:\screenmakers\Kunden\kleinerundbold\Henkes_HSB_Master\PPT_Klassisch\Bilder\PPT-16_9\160222 PPT-Pra╠êsentation wide Kapiteltrenner 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6857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430083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Gerade Verbindung 4"/>
          <p:cNvCxnSpPr/>
          <p:nvPr/>
        </p:nvCxnSpPr>
        <p:spPr bwMode="gray">
          <a:xfrm flipH="1">
            <a:off x="-480731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/>
        </p:nvCxnSpPr>
        <p:spPr bwMode="gray">
          <a:xfrm flipH="1">
            <a:off x="12336694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 bwMode="gray">
          <a:xfrm rot="16200000" flipH="1">
            <a:off x="6112358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 bwMode="gray">
          <a:xfrm rot="16200000" flipH="1">
            <a:off x="582605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6112358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 bwMode="gray">
          <a:xfrm rot="16200000" flipH="1">
            <a:off x="5826054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feld 7"/>
          <p:cNvSpPr txBox="1"/>
          <p:nvPr/>
        </p:nvSpPr>
        <p:spPr bwMode="gray">
          <a:xfrm>
            <a:off x="329682" y="656694"/>
            <a:ext cx="1393164" cy="43088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3200" dirty="0">
                <a:solidFill>
                  <a:schemeClr val="bg1"/>
                </a:solidFill>
              </a:rPr>
              <a:t>Inhalt</a:t>
            </a:r>
          </a:p>
        </p:txBody>
      </p:sp>
      <p:sp>
        <p:nvSpPr>
          <p:cNvPr id="24" name="Inhaltsplatzhalter 23"/>
          <p:cNvSpPr>
            <a:spLocks noGrp="1"/>
          </p:cNvSpPr>
          <p:nvPr>
            <p:ph sz="quarter" idx="10"/>
          </p:nvPr>
        </p:nvSpPr>
        <p:spPr>
          <a:xfrm>
            <a:off x="329681" y="1400008"/>
            <a:ext cx="11526959" cy="4800600"/>
          </a:xfrm>
          <a:prstGeom prst="rect">
            <a:avLst/>
          </a:prstGeom>
        </p:spPr>
        <p:txBody>
          <a:bodyPr>
            <a:noAutofit/>
          </a:bodyPr>
          <a:lstStyle>
            <a:lvl1pPr marL="479988" indent="-479988">
              <a:buFont typeface="Wingdings" charset="2"/>
              <a:buAutoNum type="arabicPlain"/>
              <a:defRPr>
                <a:solidFill>
                  <a:srgbClr val="FFFFFF"/>
                </a:solidFill>
              </a:defRPr>
            </a:lvl1pPr>
            <a:lvl2pPr marL="480472" indent="239178"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9" name="Gerade Verbindung 18"/>
          <p:cNvCxnSpPr/>
          <p:nvPr/>
        </p:nvCxnSpPr>
        <p:spPr bwMode="gray">
          <a:xfrm flipH="1">
            <a:off x="-480731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flipH="1">
            <a:off x="12336694" y="620869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rot="16200000" flipH="1">
            <a:off x="1173062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/>
        </p:nvCxnSpPr>
        <p:spPr bwMode="gray">
          <a:xfrm rot="16200000" flipH="1">
            <a:off x="20934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 bwMode="gray">
          <a:xfrm rot="16200000" flipH="1">
            <a:off x="11730626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/>
        </p:nvCxnSpPr>
        <p:spPr bwMode="gray">
          <a:xfrm rot="16200000" flipH="1">
            <a:off x="209347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20618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98" descr="C:\screenmakers\Kunden\kleinerundbold\Henkes_HSB_Master\PPT_Klassisch\Bilder\PPT-16_9\160222 PPT-Pra╠êsentation wide Kapiteltrenner 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6857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1687964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335362" y="2048845"/>
            <a:ext cx="11521277" cy="816000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3200" b="0" cap="none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28403" y="2949021"/>
            <a:ext cx="11521277" cy="672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133" b="0">
                <a:solidFill>
                  <a:schemeClr val="bg1"/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-480731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 bwMode="gray">
          <a:xfrm flipH="1">
            <a:off x="12336694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 bwMode="gray">
          <a:xfrm rot="16200000" flipH="1">
            <a:off x="6112358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582605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/>
        </p:nvCxnSpPr>
        <p:spPr bwMode="gray">
          <a:xfrm rot="16200000" flipH="1">
            <a:off x="6112358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rot="16200000" flipH="1">
            <a:off x="5826054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/>
        </p:nvCxnSpPr>
        <p:spPr bwMode="gray">
          <a:xfrm flipH="1">
            <a:off x="-480731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/>
        </p:nvCxnSpPr>
        <p:spPr bwMode="gray">
          <a:xfrm flipH="1">
            <a:off x="12336694" y="620869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 bwMode="gray">
          <a:xfrm rot="16200000" flipH="1">
            <a:off x="1173062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/>
        </p:nvCxnSpPr>
        <p:spPr bwMode="gray">
          <a:xfrm rot="16200000" flipH="1">
            <a:off x="20934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/>
        </p:nvCxnSpPr>
        <p:spPr bwMode="gray">
          <a:xfrm rot="16200000" flipH="1">
            <a:off x="11730626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/>
        </p:nvCxnSpPr>
        <p:spPr bwMode="gray">
          <a:xfrm rot="16200000" flipH="1">
            <a:off x="209347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63930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493449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>
          <a:xfrm>
            <a:off x="10037844" y="6357325"/>
            <a:ext cx="1020597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FA078936-32F4-4A2C-8CD4-8C02C956183F}" type="datetimeFigureOut">
              <a:rPr lang="en-DE" smtClean="0"/>
              <a:t>11/21/2024</a:t>
            </a:fld>
            <a:endParaRPr lang="en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334433" y="6357325"/>
            <a:ext cx="9074019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11333989" y="6357325"/>
            <a:ext cx="522652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394003CD-C4D4-4292-A74F-C2B95EAC5032}" type="slidenum">
              <a:rPr lang="en-DE" smtClean="0"/>
              <a:t>‹#›</a:t>
            </a:fld>
            <a:endParaRPr lang="en-DE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336000" y="93182"/>
            <a:ext cx="11520000" cy="4832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336000" y="1396800"/>
            <a:ext cx="11520000" cy="48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199617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3517944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>
          <a:xfrm>
            <a:off x="10037844" y="6357325"/>
            <a:ext cx="1020597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FA078936-32F4-4A2C-8CD4-8C02C956183F}" type="datetimeFigureOut">
              <a:rPr lang="en-DE" smtClean="0"/>
              <a:t>11/21/2024</a:t>
            </a:fld>
            <a:endParaRPr lang="en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 bwMode="gray">
          <a:xfrm>
            <a:off x="334433" y="6357325"/>
            <a:ext cx="9074019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 bwMode="gray">
          <a:xfrm>
            <a:off x="11333989" y="6357325"/>
            <a:ext cx="522652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394003CD-C4D4-4292-A74F-C2B95EAC5032}" type="slidenum">
              <a:rPr lang="en-DE" smtClean="0"/>
              <a:t>‹#›</a:t>
            </a:fld>
            <a:endParaRPr lang="en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/>
          </p:nvPr>
        </p:nvSpPr>
        <p:spPr>
          <a:xfrm>
            <a:off x="336000" y="1396801"/>
            <a:ext cx="5616067" cy="47894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9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6240573" y="1396801"/>
            <a:ext cx="5616067" cy="47894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0" name="Titel 6">
            <a:extLst>
              <a:ext uri="{FF2B5EF4-FFF2-40B4-BE49-F238E27FC236}">
                <a16:creationId xmlns:a16="http://schemas.microsoft.com/office/drawing/2014/main" id="{E0C2E0DC-CE21-449B-B90C-F53EBB197F7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336000" y="93182"/>
            <a:ext cx="11520000" cy="4832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312890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5693278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334433" y="596765"/>
            <a:ext cx="11520000" cy="72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>
          <a:xfrm>
            <a:off x="10037844" y="6357325"/>
            <a:ext cx="1020597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FA078936-32F4-4A2C-8CD4-8C02C956183F}" type="datetimeFigureOut">
              <a:rPr lang="en-DE" smtClean="0"/>
              <a:t>11/21/2024</a:t>
            </a:fld>
            <a:endParaRPr lang="en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 bwMode="gray">
          <a:xfrm>
            <a:off x="334433" y="6357325"/>
            <a:ext cx="9074019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 bwMode="gray">
          <a:xfrm>
            <a:off x="11333989" y="6357325"/>
            <a:ext cx="522652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394003CD-C4D4-4292-A74F-C2B95EAC5032}" type="slidenum">
              <a:rPr lang="en-DE" smtClean="0"/>
              <a:t>‹#›</a:t>
            </a:fld>
            <a:endParaRPr lang="en-DE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/>
          </p:nvPr>
        </p:nvSpPr>
        <p:spPr bwMode="gray">
          <a:xfrm>
            <a:off x="6239934" y="1449388"/>
            <a:ext cx="5617633" cy="476302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0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336000" y="1396801"/>
            <a:ext cx="5616067" cy="47894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998715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ollfläch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466194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3"/>
          <p:cNvSpPr>
            <a:spLocks noGrp="1"/>
          </p:cNvSpPr>
          <p:nvPr>
            <p:ph type="pic" sz="quarter" idx="16"/>
          </p:nvPr>
        </p:nvSpPr>
        <p:spPr bwMode="gray">
          <a:xfrm>
            <a:off x="827" y="625475"/>
            <a:ext cx="12191173" cy="625990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567363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98" descr="C:\screenmakers\Kunden\kleinerundbold\Henkes_HSB_Master\PPT_Klassisch\Bilder\PPT-16_9\160222 PPT-Pra╠êsentation wide Kapiteltrenner 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6857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9682882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35361" y="2996953"/>
            <a:ext cx="11521280" cy="21242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867" b="0">
                <a:solidFill>
                  <a:schemeClr val="bg1"/>
                </a:solidFill>
              </a:defRPr>
            </a:lvl2pPr>
            <a:lvl3pPr marL="0" indent="0" algn="ctr">
              <a:spcAft>
                <a:spcPts val="0"/>
              </a:spcAft>
              <a:buNone/>
              <a:defRPr sz="1867" b="0">
                <a:solidFill>
                  <a:schemeClr val="bg1"/>
                </a:solidFill>
              </a:defRPr>
            </a:lvl3pPr>
            <a:lvl4pPr marL="0" indent="0" algn="ctr">
              <a:spcAft>
                <a:spcPts val="0"/>
              </a:spcAft>
              <a:buNone/>
              <a:defRPr sz="1867" b="0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1867"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itat bearbeiten</a:t>
            </a:r>
          </a:p>
          <a:p>
            <a:pPr lvl="1"/>
            <a:r>
              <a:rPr lang="de-DE" dirty="0"/>
              <a:t>Zitat 14pt</a:t>
            </a:r>
          </a:p>
        </p:txBody>
      </p:sp>
      <p:cxnSp>
        <p:nvCxnSpPr>
          <p:cNvPr id="7" name="Gerade Verbindung 6"/>
          <p:cNvCxnSpPr/>
          <p:nvPr/>
        </p:nvCxnSpPr>
        <p:spPr bwMode="gray">
          <a:xfrm flipH="1">
            <a:off x="-480731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/>
        </p:nvCxnSpPr>
        <p:spPr bwMode="gray">
          <a:xfrm flipH="1">
            <a:off x="12336694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 bwMode="gray">
          <a:xfrm rot="16200000" flipH="1">
            <a:off x="6112358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 bwMode="gray">
          <a:xfrm rot="16200000" flipH="1">
            <a:off x="582605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6112358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 bwMode="gray">
          <a:xfrm rot="16200000" flipH="1">
            <a:off x="5826054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flipH="1">
            <a:off x="-480731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flipH="1">
            <a:off x="12336694" y="620869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/>
        </p:nvCxnSpPr>
        <p:spPr bwMode="gray">
          <a:xfrm rot="16200000" flipH="1">
            <a:off x="1173062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/>
        </p:nvCxnSpPr>
        <p:spPr bwMode="gray">
          <a:xfrm rot="16200000" flipH="1">
            <a:off x="20934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/>
        </p:nvCxnSpPr>
        <p:spPr bwMode="gray">
          <a:xfrm rot="16200000" flipH="1">
            <a:off x="11730626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 bwMode="gray">
          <a:xfrm rot="16200000" flipH="1">
            <a:off x="209347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fik 1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8401" y="-43200"/>
            <a:ext cx="1612633" cy="8368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3538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605338046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5" imgW="270" imgH="270" progId="TCLayout.ActiveDocument.1">
                  <p:embed/>
                </p:oleObj>
              </mc:Choice>
              <mc:Fallback>
                <p:oleObj name="think-cell Folie" r:id="rId15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Gerade Verbindung 10"/>
          <p:cNvCxnSpPr/>
          <p:nvPr/>
        </p:nvCxnSpPr>
        <p:spPr bwMode="gray">
          <a:xfrm flipH="1">
            <a:off x="-480731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 bwMode="gray">
          <a:xfrm flipH="1">
            <a:off x="-480731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 bwMode="gray">
          <a:xfrm flipH="1">
            <a:off x="12336694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/>
        </p:nvCxnSpPr>
        <p:spPr bwMode="gray">
          <a:xfrm flipH="1">
            <a:off x="12336694" y="620869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 bwMode="gray">
          <a:xfrm rot="16200000" flipH="1">
            <a:off x="1173062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6112358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 bwMode="gray">
          <a:xfrm rot="16200000" flipH="1">
            <a:off x="582605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/>
        </p:nvCxnSpPr>
        <p:spPr bwMode="gray">
          <a:xfrm rot="16200000" flipH="1">
            <a:off x="20934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/>
        </p:nvCxnSpPr>
        <p:spPr bwMode="gray">
          <a:xfrm rot="16200000" flipH="1">
            <a:off x="11730626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rot="16200000" flipH="1">
            <a:off x="6112358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rot="16200000" flipH="1">
            <a:off x="5826054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/>
        </p:nvCxnSpPr>
        <p:spPr bwMode="gray">
          <a:xfrm rot="16200000" flipH="1">
            <a:off x="209347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523611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</p:sldLayoutIdLst>
  <p:txStyles>
    <p:titleStyle>
      <a:lvl1pPr algn="l" defTabSz="1219170" rtl="0" eaLnBrk="1" latinLnBrk="0" hangingPunct="1">
        <a:spcBef>
          <a:spcPct val="0"/>
        </a:spcBef>
        <a:buNone/>
        <a:defRPr sz="24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267"/>
        </a:spcBef>
        <a:spcAft>
          <a:spcPts val="0"/>
        </a:spcAft>
        <a:buFont typeface="Arial" panose="020B0604020202020204" pitchFamily="34" charset="0"/>
        <a:buNone/>
        <a:defRPr sz="1867" b="0" kern="1200">
          <a:solidFill>
            <a:schemeClr val="bg2"/>
          </a:solidFill>
          <a:latin typeface="+mj-lt"/>
          <a:ea typeface="+mn-ea"/>
          <a:cs typeface="+mn-cs"/>
        </a:defRPr>
      </a:lvl1pPr>
      <a:lvl2pPr marL="241294" indent="-241294" algn="l" defTabSz="1219170" rtl="0" eaLnBrk="1" latinLnBrk="0" hangingPunct="1">
        <a:spcBef>
          <a:spcPts val="267"/>
        </a:spcBef>
        <a:spcAft>
          <a:spcPts val="0"/>
        </a:spcAft>
        <a:buFont typeface="Wingdings" charset="2"/>
        <a:buChar char="§"/>
        <a:defRPr sz="1867" kern="1200">
          <a:solidFill>
            <a:schemeClr val="bg2"/>
          </a:solidFill>
          <a:latin typeface="+mj-lt"/>
          <a:ea typeface="+mn-ea"/>
          <a:cs typeface="+mn-cs"/>
        </a:defRPr>
      </a:lvl2pPr>
      <a:lvl3pPr marL="484705" indent="-243411" algn="l" defTabSz="1219170" rtl="0" eaLnBrk="1" latinLnBrk="0" hangingPunct="1">
        <a:spcBef>
          <a:spcPts val="267"/>
        </a:spcBef>
        <a:spcAft>
          <a:spcPts val="0"/>
        </a:spcAft>
        <a:buFont typeface="Symbol" charset="2"/>
        <a:buChar char="-"/>
        <a:defRPr sz="1867" kern="1200">
          <a:solidFill>
            <a:schemeClr val="bg2"/>
          </a:solidFill>
          <a:latin typeface="+mj-lt"/>
          <a:ea typeface="+mn-ea"/>
          <a:cs typeface="+mn-cs"/>
        </a:defRPr>
      </a:lvl3pPr>
      <a:lvl4pPr marL="721766" indent="-239178" algn="l" defTabSz="1219170" rtl="0" eaLnBrk="1" latinLnBrk="0" hangingPunct="1">
        <a:spcBef>
          <a:spcPts val="267"/>
        </a:spcBef>
        <a:spcAft>
          <a:spcPts val="0"/>
        </a:spcAft>
        <a:buFont typeface="Symbol" charset="2"/>
        <a:buChar char="-"/>
        <a:defRPr sz="1867" kern="1200">
          <a:solidFill>
            <a:schemeClr val="bg2"/>
          </a:solidFill>
          <a:latin typeface="+mj-lt"/>
          <a:ea typeface="+mn-ea"/>
          <a:cs typeface="+mn-cs"/>
        </a:defRPr>
      </a:lvl4pPr>
      <a:lvl5pPr marL="952476" indent="-241294" algn="l" defTabSz="1219170" rtl="0" eaLnBrk="1" latinLnBrk="0" hangingPunct="1">
        <a:spcBef>
          <a:spcPts val="267"/>
        </a:spcBef>
        <a:spcAft>
          <a:spcPts val="0"/>
        </a:spcAft>
        <a:buFont typeface="Symbol" charset="2"/>
        <a:buChar char="-"/>
        <a:defRPr sz="1867" kern="1200">
          <a:solidFill>
            <a:schemeClr val="bg2"/>
          </a:solidFill>
          <a:latin typeface="+mj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png"/><Relationship Id="rId3" Type="http://schemas.openxmlformats.org/officeDocument/2006/relationships/image" Target="../media/image7.jpeg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0.png"/><Relationship Id="rId11" Type="http://schemas.openxmlformats.org/officeDocument/2006/relationships/image" Target="../media/image15.jpeg"/><Relationship Id="rId5" Type="http://schemas.openxmlformats.org/officeDocument/2006/relationships/image" Target="../media/image9.jpeg"/><Relationship Id="rId10" Type="http://schemas.openxmlformats.org/officeDocument/2006/relationships/image" Target="../media/image14.png"/><Relationship Id="rId4" Type="http://schemas.openxmlformats.org/officeDocument/2006/relationships/image" Target="../media/image8.png"/><Relationship Id="rId9" Type="http://schemas.openxmlformats.org/officeDocument/2006/relationships/image" Target="../media/image1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9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23.jpeg"/><Relationship Id="rId4" Type="http://schemas.openxmlformats.org/officeDocument/2006/relationships/image" Target="../media/image21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3.jpeg"/><Relationship Id="rId5" Type="http://schemas.openxmlformats.org/officeDocument/2006/relationships/image" Target="../media/image21.jpeg"/><Relationship Id="rId4" Type="http://schemas.openxmlformats.org/officeDocument/2006/relationships/image" Target="../media/image19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2" name="Picture 161">
            <a:extLst>
              <a:ext uri="{FF2B5EF4-FFF2-40B4-BE49-F238E27FC236}">
                <a16:creationId xmlns:a16="http://schemas.microsoft.com/office/drawing/2014/main" id="{FA0BAECB-7633-42F5-8C65-56CF838963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91719" y="4763961"/>
            <a:ext cx="1495299" cy="1072818"/>
          </a:xfrm>
          <a:prstGeom prst="rect">
            <a:avLst/>
          </a:prstGeom>
        </p:spPr>
      </p:pic>
      <p:pic>
        <p:nvPicPr>
          <p:cNvPr id="13314" name="Picture 2" descr="1 x Lego System Electric Motor DEFEKT 9V schwarz Eisenbahn Zug Lok für  Cargo Railway Krokodil Lokomotive Metroliner Train 10132 4551 590 70358 |  Steinpalast">
            <a:extLst>
              <a:ext uri="{FF2B5EF4-FFF2-40B4-BE49-F238E27FC236}">
                <a16:creationId xmlns:a16="http://schemas.microsoft.com/office/drawing/2014/main" id="{9442CF5A-AEB8-4B81-A44E-89F4E9340F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16306" y="5345531"/>
            <a:ext cx="1671928" cy="1671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E2C678A-7606-4F9B-8F75-12779163865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14434" y="1649070"/>
            <a:ext cx="1218083" cy="1585090"/>
          </a:xfrm>
          <a:prstGeom prst="rect">
            <a:avLst/>
          </a:prstGeom>
        </p:spPr>
      </p:pic>
      <p:pic>
        <p:nvPicPr>
          <p:cNvPr id="5" name="Picture 6" descr="Samsung 25R 18650 2500mAh 20A Battery">
            <a:extLst>
              <a:ext uri="{FF2B5EF4-FFF2-40B4-BE49-F238E27FC236}">
                <a16:creationId xmlns:a16="http://schemas.microsoft.com/office/drawing/2014/main" id="{732501CB-C38A-4120-AF58-315BE83C58F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0" t="36700" r="3800" b="36700"/>
          <a:stretch/>
        </p:blipFill>
        <p:spPr bwMode="auto">
          <a:xfrm rot="5400000" flipH="1">
            <a:off x="564154" y="4490287"/>
            <a:ext cx="2232755" cy="64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FA6464B-50CF-4885-BD3A-83129482EEA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16200000">
            <a:off x="1439232" y="2554390"/>
            <a:ext cx="777571" cy="128607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50F4B35-5679-4947-BC2E-C7A4E87139D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615846" y="3012853"/>
            <a:ext cx="1106552" cy="54499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66B06C3-CBC5-4EAA-A964-9ED7B04A630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16200000">
            <a:off x="6426558" y="5219696"/>
            <a:ext cx="829192" cy="918178"/>
          </a:xfrm>
          <a:prstGeom prst="rect">
            <a:avLst/>
          </a:prstGeom>
        </p:spPr>
      </p:pic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7B1A4E92-AD71-4A4C-B986-E48C69690DFD}"/>
              </a:ext>
            </a:extLst>
          </p:cNvPr>
          <p:cNvCxnSpPr>
            <a:cxnSpLocks/>
            <a:stCxn id="11" idx="3"/>
            <a:endCxn id="5" idx="1"/>
          </p:cNvCxnSpPr>
          <p:nvPr/>
        </p:nvCxnSpPr>
        <p:spPr>
          <a:xfrm flipH="1">
            <a:off x="1680532" y="3017784"/>
            <a:ext cx="692577" cy="2910000"/>
          </a:xfrm>
          <a:prstGeom prst="bentConnector4">
            <a:avLst>
              <a:gd name="adj1" fmla="val -64248"/>
              <a:gd name="adj2" fmla="val 58851"/>
            </a:avLst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D393E444-9389-4C8F-BB4E-40C9C98F33A7}"/>
              </a:ext>
            </a:extLst>
          </p:cNvPr>
          <p:cNvSpPr/>
          <p:nvPr/>
        </p:nvSpPr>
        <p:spPr>
          <a:xfrm>
            <a:off x="2265097" y="2963778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7900534-2DFE-42B2-BEB0-56DBB71D1D91}"/>
              </a:ext>
            </a:extLst>
          </p:cNvPr>
          <p:cNvSpPr/>
          <p:nvPr/>
        </p:nvSpPr>
        <p:spPr>
          <a:xfrm>
            <a:off x="2265097" y="2824692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997B61F-B1A8-4312-BDBC-A5321E010C75}"/>
              </a:ext>
            </a:extLst>
          </p:cNvPr>
          <p:cNvSpPr/>
          <p:nvPr/>
        </p:nvSpPr>
        <p:spPr>
          <a:xfrm>
            <a:off x="2265097" y="3449831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4B6A58A-4699-42E9-97F0-17C7B2223679}"/>
              </a:ext>
            </a:extLst>
          </p:cNvPr>
          <p:cNvSpPr/>
          <p:nvPr/>
        </p:nvSpPr>
        <p:spPr>
          <a:xfrm>
            <a:off x="2265097" y="3274582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15" name="Connector: Elbow 14">
            <a:extLst>
              <a:ext uri="{FF2B5EF4-FFF2-40B4-BE49-F238E27FC236}">
                <a16:creationId xmlns:a16="http://schemas.microsoft.com/office/drawing/2014/main" id="{CE2ADA53-0E06-4666-AD44-831E29DDAE71}"/>
              </a:ext>
            </a:extLst>
          </p:cNvPr>
          <p:cNvCxnSpPr>
            <a:cxnSpLocks/>
            <a:stCxn id="14" idx="3"/>
            <a:endCxn id="5" idx="3"/>
          </p:cNvCxnSpPr>
          <p:nvPr/>
        </p:nvCxnSpPr>
        <p:spPr>
          <a:xfrm flipH="1">
            <a:off x="1680532" y="3328588"/>
            <a:ext cx="692577" cy="366441"/>
          </a:xfrm>
          <a:prstGeom prst="bentConnector4">
            <a:avLst>
              <a:gd name="adj1" fmla="val -33007"/>
              <a:gd name="adj2" fmla="val 318374"/>
            </a:avLst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or: Elbow 15">
            <a:extLst>
              <a:ext uri="{FF2B5EF4-FFF2-40B4-BE49-F238E27FC236}">
                <a16:creationId xmlns:a16="http://schemas.microsoft.com/office/drawing/2014/main" id="{1D529A50-48F2-4185-8718-B1952E0EB663}"/>
              </a:ext>
            </a:extLst>
          </p:cNvPr>
          <p:cNvCxnSpPr>
            <a:cxnSpLocks/>
            <a:stCxn id="13" idx="3"/>
            <a:endCxn id="17" idx="1"/>
          </p:cNvCxnSpPr>
          <p:nvPr/>
        </p:nvCxnSpPr>
        <p:spPr>
          <a:xfrm flipV="1">
            <a:off x="2373109" y="3285348"/>
            <a:ext cx="1309142" cy="218489"/>
          </a:xfrm>
          <a:prstGeom prst="bentConnector3">
            <a:avLst>
              <a:gd name="adj1" fmla="val 66007"/>
            </a:avLst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0C8F0A43-ED33-4791-8DDA-78C841B6DC8E}"/>
              </a:ext>
            </a:extLst>
          </p:cNvPr>
          <p:cNvSpPr/>
          <p:nvPr/>
        </p:nvSpPr>
        <p:spPr>
          <a:xfrm>
            <a:off x="3682251" y="3231342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BFD77E1-112F-43F8-9EC9-3806199CDF1C}"/>
              </a:ext>
            </a:extLst>
          </p:cNvPr>
          <p:cNvSpPr/>
          <p:nvPr/>
        </p:nvSpPr>
        <p:spPr>
          <a:xfrm>
            <a:off x="4567076" y="3430024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EBB64A1-C439-4D2E-BD53-44C13123A91D}"/>
              </a:ext>
            </a:extLst>
          </p:cNvPr>
          <p:cNvSpPr/>
          <p:nvPr/>
        </p:nvSpPr>
        <p:spPr>
          <a:xfrm>
            <a:off x="4564087" y="3024708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BC8E86A-EF69-41E5-B41D-635E128C123C}"/>
              </a:ext>
            </a:extLst>
          </p:cNvPr>
          <p:cNvSpPr/>
          <p:nvPr/>
        </p:nvSpPr>
        <p:spPr>
          <a:xfrm>
            <a:off x="3672878" y="3433782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5EFB4DCF-D855-4CE2-BB72-76BD4582DD90}"/>
              </a:ext>
            </a:extLst>
          </p:cNvPr>
          <p:cNvCxnSpPr>
            <a:cxnSpLocks/>
            <a:stCxn id="12" idx="3"/>
            <a:endCxn id="23" idx="2"/>
          </p:cNvCxnSpPr>
          <p:nvPr/>
        </p:nvCxnSpPr>
        <p:spPr>
          <a:xfrm flipV="1">
            <a:off x="2373109" y="2534823"/>
            <a:ext cx="880285" cy="343875"/>
          </a:xfrm>
          <a:prstGeom prst="bentConnector2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21">
            <a:extLst>
              <a:ext uri="{FF2B5EF4-FFF2-40B4-BE49-F238E27FC236}">
                <a16:creationId xmlns:a16="http://schemas.microsoft.com/office/drawing/2014/main" id="{58AE742A-6C91-4487-A8F7-166FA6A578B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978153" y="1365964"/>
            <a:ext cx="550483" cy="1181676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AF727428-C37A-4B36-8F43-705FD310B8DA}"/>
              </a:ext>
            </a:extLst>
          </p:cNvPr>
          <p:cNvSpPr/>
          <p:nvPr/>
        </p:nvSpPr>
        <p:spPr>
          <a:xfrm>
            <a:off x="3199388" y="2426811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0BD34BC-AF31-40E3-99D1-8A69233E3ACC}"/>
              </a:ext>
            </a:extLst>
          </p:cNvPr>
          <p:cNvSpPr/>
          <p:nvPr/>
        </p:nvSpPr>
        <p:spPr>
          <a:xfrm>
            <a:off x="3366877" y="2426811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9FC949AE-0E1E-458D-97E7-B29E83F795C2}"/>
              </a:ext>
            </a:extLst>
          </p:cNvPr>
          <p:cNvCxnSpPr>
            <a:cxnSpLocks/>
            <a:stCxn id="20" idx="1"/>
            <a:endCxn id="24" idx="2"/>
          </p:cNvCxnSpPr>
          <p:nvPr/>
        </p:nvCxnSpPr>
        <p:spPr>
          <a:xfrm rot="10800000">
            <a:off x="3420884" y="2534824"/>
            <a:ext cx="251995" cy="952965"/>
          </a:xfrm>
          <a:prstGeom prst="bentConnector2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8CDD7FC6-4D19-4476-A6C6-3C46D081045A}"/>
              </a:ext>
            </a:extLst>
          </p:cNvPr>
          <p:cNvSpPr/>
          <p:nvPr/>
        </p:nvSpPr>
        <p:spPr>
          <a:xfrm>
            <a:off x="7624505" y="2771815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4937916-0081-454C-89E7-5D25D112D791}"/>
              </a:ext>
            </a:extLst>
          </p:cNvPr>
          <p:cNvSpPr/>
          <p:nvPr/>
        </p:nvSpPr>
        <p:spPr>
          <a:xfrm>
            <a:off x="6411317" y="5557303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64D32F2-8AE0-465E-AF4B-E100931B9938}"/>
              </a:ext>
            </a:extLst>
          </p:cNvPr>
          <p:cNvSpPr/>
          <p:nvPr/>
        </p:nvSpPr>
        <p:spPr>
          <a:xfrm>
            <a:off x="7621516" y="2640116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29" name="Connector: Elbow 28">
            <a:extLst>
              <a:ext uri="{FF2B5EF4-FFF2-40B4-BE49-F238E27FC236}">
                <a16:creationId xmlns:a16="http://schemas.microsoft.com/office/drawing/2014/main" id="{77851C4F-D1CF-4487-9497-DA263746B44A}"/>
              </a:ext>
            </a:extLst>
          </p:cNvPr>
          <p:cNvCxnSpPr>
            <a:cxnSpLocks/>
            <a:stCxn id="19" idx="3"/>
            <a:endCxn id="26" idx="3"/>
          </p:cNvCxnSpPr>
          <p:nvPr/>
        </p:nvCxnSpPr>
        <p:spPr>
          <a:xfrm flipV="1">
            <a:off x="4672099" y="2825821"/>
            <a:ext cx="3060418" cy="252893"/>
          </a:xfrm>
          <a:prstGeom prst="bentConnector3">
            <a:avLst>
              <a:gd name="adj1" fmla="val 107470"/>
            </a:avLst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6850EF1A-0E13-482D-AAD9-B28701FDB422}"/>
              </a:ext>
            </a:extLst>
          </p:cNvPr>
          <p:cNvCxnSpPr>
            <a:cxnSpLocks/>
            <a:stCxn id="18" idx="3"/>
            <a:endCxn id="28" idx="3"/>
          </p:cNvCxnSpPr>
          <p:nvPr/>
        </p:nvCxnSpPr>
        <p:spPr>
          <a:xfrm flipV="1">
            <a:off x="4675088" y="2694122"/>
            <a:ext cx="3054440" cy="789908"/>
          </a:xfrm>
          <a:prstGeom prst="bentConnector3">
            <a:avLst>
              <a:gd name="adj1" fmla="val 111642"/>
            </a:avLst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or: Elbow 30">
            <a:extLst>
              <a:ext uri="{FF2B5EF4-FFF2-40B4-BE49-F238E27FC236}">
                <a16:creationId xmlns:a16="http://schemas.microsoft.com/office/drawing/2014/main" id="{696A1772-8491-4ED9-9B3F-BA6EC14495BC}"/>
              </a:ext>
            </a:extLst>
          </p:cNvPr>
          <p:cNvCxnSpPr>
            <a:cxnSpLocks/>
            <a:stCxn id="27" idx="1"/>
            <a:endCxn id="119" idx="4"/>
          </p:cNvCxnSpPr>
          <p:nvPr/>
        </p:nvCxnSpPr>
        <p:spPr>
          <a:xfrm rot="10800000">
            <a:off x="3423285" y="3528979"/>
            <a:ext cx="2988033" cy="2082330"/>
          </a:xfrm>
          <a:prstGeom prst="bentConnector2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nector: Elbow 31">
            <a:extLst>
              <a:ext uri="{FF2B5EF4-FFF2-40B4-BE49-F238E27FC236}">
                <a16:creationId xmlns:a16="http://schemas.microsoft.com/office/drawing/2014/main" id="{A3413FAE-E25C-4659-948B-19119754330D}"/>
              </a:ext>
            </a:extLst>
          </p:cNvPr>
          <p:cNvCxnSpPr>
            <a:cxnSpLocks/>
            <a:stCxn id="121" idx="4"/>
            <a:endCxn id="33" idx="1"/>
          </p:cNvCxnSpPr>
          <p:nvPr/>
        </p:nvCxnSpPr>
        <p:spPr>
          <a:xfrm rot="16200000" flipH="1">
            <a:off x="3710272" y="3055454"/>
            <a:ext cx="2213461" cy="3161845"/>
          </a:xfrm>
          <a:prstGeom prst="bentConnector2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8FC73D70-9FAF-4815-ADE0-5F8B29D849FC}"/>
              </a:ext>
            </a:extLst>
          </p:cNvPr>
          <p:cNvSpPr/>
          <p:nvPr/>
        </p:nvSpPr>
        <p:spPr>
          <a:xfrm>
            <a:off x="6397925" y="5689102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0AC1D2CC-FE7E-46CB-B095-85D336E7ABCF}"/>
              </a:ext>
            </a:extLst>
          </p:cNvPr>
          <p:cNvSpPr/>
          <p:nvPr/>
        </p:nvSpPr>
        <p:spPr>
          <a:xfrm>
            <a:off x="1621971" y="3664260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8376B2F6-37F8-4B69-97CF-B090A1DE4725}"/>
              </a:ext>
            </a:extLst>
          </p:cNvPr>
          <p:cNvSpPr/>
          <p:nvPr/>
        </p:nvSpPr>
        <p:spPr>
          <a:xfrm>
            <a:off x="1620166" y="5816093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D41FE99-EE70-43F8-ABD2-597021801A95}"/>
              </a:ext>
            </a:extLst>
          </p:cNvPr>
          <p:cNvSpPr/>
          <p:nvPr/>
        </p:nvSpPr>
        <p:spPr>
          <a:xfrm>
            <a:off x="6411317" y="5818042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61D3AA9-BE4B-4607-9E40-27230E084A89}"/>
              </a:ext>
            </a:extLst>
          </p:cNvPr>
          <p:cNvSpPr/>
          <p:nvPr/>
        </p:nvSpPr>
        <p:spPr>
          <a:xfrm>
            <a:off x="6411317" y="5955711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40" name="Connector: Elbow 39">
            <a:extLst>
              <a:ext uri="{FF2B5EF4-FFF2-40B4-BE49-F238E27FC236}">
                <a16:creationId xmlns:a16="http://schemas.microsoft.com/office/drawing/2014/main" id="{4A6A64B3-F2A9-422E-85F4-6CC2555C5EE1}"/>
              </a:ext>
            </a:extLst>
          </p:cNvPr>
          <p:cNvCxnSpPr>
            <a:cxnSpLocks/>
          </p:cNvCxnSpPr>
          <p:nvPr/>
        </p:nvCxnSpPr>
        <p:spPr>
          <a:xfrm rot="10800000" flipH="1">
            <a:off x="6412639" y="2330589"/>
            <a:ext cx="114372" cy="3664517"/>
          </a:xfrm>
          <a:prstGeom prst="bentConnector3">
            <a:avLst>
              <a:gd name="adj1" fmla="val -410852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40">
            <a:extLst>
              <a:ext uri="{FF2B5EF4-FFF2-40B4-BE49-F238E27FC236}">
                <a16:creationId xmlns:a16="http://schemas.microsoft.com/office/drawing/2014/main" id="{7CF84FAC-05E5-4F25-B992-ECA07135705B}"/>
              </a:ext>
            </a:extLst>
          </p:cNvPr>
          <p:cNvSpPr/>
          <p:nvPr/>
        </p:nvSpPr>
        <p:spPr>
          <a:xfrm>
            <a:off x="6525689" y="2291194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CC600A33-9CC1-479B-A5DC-A941DF439A4B}"/>
              </a:ext>
            </a:extLst>
          </p:cNvPr>
          <p:cNvSpPr/>
          <p:nvPr/>
        </p:nvSpPr>
        <p:spPr>
          <a:xfrm>
            <a:off x="6525689" y="2410200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2597F1B-2708-4516-A871-E7FCD762A7A6}"/>
              </a:ext>
            </a:extLst>
          </p:cNvPr>
          <p:cNvSpPr/>
          <p:nvPr/>
        </p:nvSpPr>
        <p:spPr>
          <a:xfrm>
            <a:off x="6525689" y="2532104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893086B-2879-4B94-B0E3-4CE1E8E9824C}"/>
              </a:ext>
            </a:extLst>
          </p:cNvPr>
          <p:cNvSpPr/>
          <p:nvPr/>
        </p:nvSpPr>
        <p:spPr>
          <a:xfrm>
            <a:off x="6527104" y="2654008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45" name="Connector: Elbow 44">
            <a:extLst>
              <a:ext uri="{FF2B5EF4-FFF2-40B4-BE49-F238E27FC236}">
                <a16:creationId xmlns:a16="http://schemas.microsoft.com/office/drawing/2014/main" id="{4F4B55DD-8228-4510-A268-ED419DB27E21}"/>
              </a:ext>
            </a:extLst>
          </p:cNvPr>
          <p:cNvCxnSpPr>
            <a:cxnSpLocks/>
            <a:stCxn id="38" idx="1"/>
            <a:endCxn id="42" idx="1"/>
          </p:cNvCxnSpPr>
          <p:nvPr/>
        </p:nvCxnSpPr>
        <p:spPr>
          <a:xfrm rot="10800000" flipH="1">
            <a:off x="6411317" y="2464206"/>
            <a:ext cx="114372" cy="3407842"/>
          </a:xfrm>
          <a:prstGeom prst="bentConnector3">
            <a:avLst>
              <a:gd name="adj1" fmla="val -273902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or: Elbow 45">
            <a:extLst>
              <a:ext uri="{FF2B5EF4-FFF2-40B4-BE49-F238E27FC236}">
                <a16:creationId xmlns:a16="http://schemas.microsoft.com/office/drawing/2014/main" id="{2782E720-8063-4A22-915B-C20AE1C25756}"/>
              </a:ext>
            </a:extLst>
          </p:cNvPr>
          <p:cNvCxnSpPr>
            <a:cxnSpLocks/>
            <a:stCxn id="129" idx="2"/>
            <a:endCxn id="43" idx="1"/>
          </p:cNvCxnSpPr>
          <p:nvPr/>
        </p:nvCxnSpPr>
        <p:spPr>
          <a:xfrm rot="5400000" flipH="1">
            <a:off x="6573362" y="2538437"/>
            <a:ext cx="2253581" cy="2348928"/>
          </a:xfrm>
          <a:prstGeom prst="bentConnector4">
            <a:avLst>
              <a:gd name="adj1" fmla="val -15498"/>
              <a:gd name="adj2" fmla="val 113246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id="{2C333E35-FA17-4BE2-8034-A0F0FA93479B}"/>
              </a:ext>
            </a:extLst>
          </p:cNvPr>
          <p:cNvCxnSpPr>
            <a:cxnSpLocks/>
            <a:stCxn id="128" idx="2"/>
            <a:endCxn id="44" idx="1"/>
          </p:cNvCxnSpPr>
          <p:nvPr/>
        </p:nvCxnSpPr>
        <p:spPr>
          <a:xfrm rot="5400000" flipH="1">
            <a:off x="6580969" y="2654149"/>
            <a:ext cx="2131677" cy="2239408"/>
          </a:xfrm>
          <a:prstGeom prst="bentConnector4">
            <a:avLst>
              <a:gd name="adj1" fmla="val -10724"/>
              <a:gd name="adj2" fmla="val 109357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angle 47">
            <a:extLst>
              <a:ext uri="{FF2B5EF4-FFF2-40B4-BE49-F238E27FC236}">
                <a16:creationId xmlns:a16="http://schemas.microsoft.com/office/drawing/2014/main" id="{057765DF-9C89-4999-AAAB-DF078D11F276}"/>
              </a:ext>
            </a:extLst>
          </p:cNvPr>
          <p:cNvSpPr/>
          <p:nvPr/>
        </p:nvSpPr>
        <p:spPr>
          <a:xfrm>
            <a:off x="7164383" y="5427083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39C1B00-9544-46C2-BCFF-AEF7F4B2E5DB}"/>
              </a:ext>
            </a:extLst>
          </p:cNvPr>
          <p:cNvSpPr/>
          <p:nvPr/>
        </p:nvSpPr>
        <p:spPr>
          <a:xfrm>
            <a:off x="7164383" y="5687847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4BF9BA59-4150-4B69-AEB3-D6CA3D2D9869}"/>
              </a:ext>
            </a:extLst>
          </p:cNvPr>
          <p:cNvSpPr/>
          <p:nvPr/>
        </p:nvSpPr>
        <p:spPr>
          <a:xfrm>
            <a:off x="7173985" y="5554670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DD7728AD-6882-4B78-95A9-8B27913044FE}"/>
              </a:ext>
            </a:extLst>
          </p:cNvPr>
          <p:cNvSpPr/>
          <p:nvPr/>
        </p:nvSpPr>
        <p:spPr>
          <a:xfrm>
            <a:off x="7176908" y="5817068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B73671E6-FFD4-43CC-87B4-69571835F957}"/>
              </a:ext>
            </a:extLst>
          </p:cNvPr>
          <p:cNvSpPr/>
          <p:nvPr/>
        </p:nvSpPr>
        <p:spPr>
          <a:xfrm>
            <a:off x="8769954" y="6094022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17394138-2A42-4E30-90D3-BE119296E9C4}"/>
              </a:ext>
            </a:extLst>
          </p:cNvPr>
          <p:cNvSpPr/>
          <p:nvPr/>
        </p:nvSpPr>
        <p:spPr>
          <a:xfrm>
            <a:off x="8773250" y="6275373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59" name="Connector: Elbow 58">
            <a:extLst>
              <a:ext uri="{FF2B5EF4-FFF2-40B4-BE49-F238E27FC236}">
                <a16:creationId xmlns:a16="http://schemas.microsoft.com/office/drawing/2014/main" id="{9BC0B592-35D8-426D-AF8B-EC6DF8F173BD}"/>
              </a:ext>
            </a:extLst>
          </p:cNvPr>
          <p:cNvCxnSpPr>
            <a:cxnSpLocks/>
            <a:stCxn id="56" idx="1"/>
            <a:endCxn id="51" idx="3"/>
          </p:cNvCxnSpPr>
          <p:nvPr/>
        </p:nvCxnSpPr>
        <p:spPr>
          <a:xfrm rot="10800000">
            <a:off x="7284920" y="5871075"/>
            <a:ext cx="1488330" cy="458305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Connector: Elbow 59">
            <a:extLst>
              <a:ext uri="{FF2B5EF4-FFF2-40B4-BE49-F238E27FC236}">
                <a16:creationId xmlns:a16="http://schemas.microsoft.com/office/drawing/2014/main" id="{A06C510B-EC7B-4994-BE6E-6833C8E325F3}"/>
              </a:ext>
            </a:extLst>
          </p:cNvPr>
          <p:cNvCxnSpPr>
            <a:cxnSpLocks/>
            <a:stCxn id="55" idx="1"/>
            <a:endCxn id="49" idx="3"/>
          </p:cNvCxnSpPr>
          <p:nvPr/>
        </p:nvCxnSpPr>
        <p:spPr>
          <a:xfrm rot="10800000">
            <a:off x="7272396" y="5741854"/>
            <a:ext cx="1497559" cy="406175"/>
          </a:xfrm>
          <a:prstGeom prst="bentConnector3">
            <a:avLst>
              <a:gd name="adj1" fmla="val 43411"/>
            </a:avLst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nector: Elbow 60">
            <a:extLst>
              <a:ext uri="{FF2B5EF4-FFF2-40B4-BE49-F238E27FC236}">
                <a16:creationId xmlns:a16="http://schemas.microsoft.com/office/drawing/2014/main" id="{2989C2FE-6A68-4C72-B052-2F0482B094B2}"/>
              </a:ext>
            </a:extLst>
          </p:cNvPr>
          <p:cNvCxnSpPr>
            <a:cxnSpLocks/>
            <a:stCxn id="62" idx="1"/>
            <a:endCxn id="24" idx="3"/>
          </p:cNvCxnSpPr>
          <p:nvPr/>
        </p:nvCxnSpPr>
        <p:spPr>
          <a:xfrm rot="10800000" flipV="1">
            <a:off x="3474890" y="2110907"/>
            <a:ext cx="3044707" cy="369910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tangle 61">
            <a:extLst>
              <a:ext uri="{FF2B5EF4-FFF2-40B4-BE49-F238E27FC236}">
                <a16:creationId xmlns:a16="http://schemas.microsoft.com/office/drawing/2014/main" id="{57B58A18-D0A0-44C0-9AF0-9D21158CA0D0}"/>
              </a:ext>
            </a:extLst>
          </p:cNvPr>
          <p:cNvSpPr/>
          <p:nvPr/>
        </p:nvSpPr>
        <p:spPr>
          <a:xfrm>
            <a:off x="6519596" y="2056901"/>
            <a:ext cx="108012" cy="10801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06BBA263-B27A-4BCE-9F07-341C73AC3E53}"/>
              </a:ext>
            </a:extLst>
          </p:cNvPr>
          <p:cNvSpPr txBox="1"/>
          <p:nvPr/>
        </p:nvSpPr>
        <p:spPr>
          <a:xfrm>
            <a:off x="5676335" y="2021516"/>
            <a:ext cx="432000" cy="1800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/>
              <a:t>180K</a:t>
            </a:r>
            <a:endParaRPr lang="en-DE" sz="1200" dirty="0" err="1"/>
          </a:p>
        </p:txBody>
      </p:sp>
      <p:cxnSp>
        <p:nvCxnSpPr>
          <p:cNvPr id="82" name="Connector: Elbow 81">
            <a:extLst>
              <a:ext uri="{FF2B5EF4-FFF2-40B4-BE49-F238E27FC236}">
                <a16:creationId xmlns:a16="http://schemas.microsoft.com/office/drawing/2014/main" id="{9453F375-20C2-4E41-913D-55893F0FD30E}"/>
              </a:ext>
            </a:extLst>
          </p:cNvPr>
          <p:cNvCxnSpPr>
            <a:cxnSpLocks/>
            <a:stCxn id="189" idx="1"/>
            <a:endCxn id="83" idx="3"/>
          </p:cNvCxnSpPr>
          <p:nvPr/>
        </p:nvCxnSpPr>
        <p:spPr>
          <a:xfrm rot="10800000">
            <a:off x="7713281" y="2563741"/>
            <a:ext cx="1771855" cy="1158941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tangle 82">
            <a:extLst>
              <a:ext uri="{FF2B5EF4-FFF2-40B4-BE49-F238E27FC236}">
                <a16:creationId xmlns:a16="http://schemas.microsoft.com/office/drawing/2014/main" id="{5B70C88F-710E-4BC6-A0D5-B33FB66D3178}"/>
              </a:ext>
            </a:extLst>
          </p:cNvPr>
          <p:cNvSpPr/>
          <p:nvPr/>
        </p:nvSpPr>
        <p:spPr>
          <a:xfrm>
            <a:off x="7605268" y="2509734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2596B921-F667-4576-8D62-957D6310FCF2}"/>
              </a:ext>
            </a:extLst>
          </p:cNvPr>
          <p:cNvSpPr txBox="1"/>
          <p:nvPr/>
        </p:nvSpPr>
        <p:spPr>
          <a:xfrm>
            <a:off x="1085496" y="6168262"/>
            <a:ext cx="1069339" cy="3642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 err="1"/>
              <a:t>Battery</a:t>
            </a:r>
            <a:endParaRPr lang="de-DE" sz="1200" b="1" dirty="0"/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/>
              <a:t>[ 18650 Li-Ion Zelle ]</a:t>
            </a:r>
            <a:endParaRPr lang="en-DE" sz="1000" dirty="0" err="1"/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A24A10A2-7C2C-4E93-B4F3-66A60FBC816A}"/>
              </a:ext>
            </a:extLst>
          </p:cNvPr>
          <p:cNvSpPr txBox="1"/>
          <p:nvPr/>
        </p:nvSpPr>
        <p:spPr>
          <a:xfrm>
            <a:off x="970530" y="2367514"/>
            <a:ext cx="1742104" cy="3642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/>
              <a:t>BMS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/>
              <a:t>[ TC4056 + </a:t>
            </a:r>
            <a:r>
              <a:rPr lang="de-DE" sz="1000" dirty="0" err="1"/>
              <a:t>Discharge</a:t>
            </a:r>
            <a:r>
              <a:rPr lang="de-DE" sz="1000" dirty="0"/>
              <a:t> </a:t>
            </a:r>
            <a:r>
              <a:rPr lang="de-DE" sz="1000" dirty="0" err="1"/>
              <a:t>Protection</a:t>
            </a:r>
            <a:r>
              <a:rPr lang="de-DE" sz="1000" dirty="0"/>
              <a:t>]</a:t>
            </a:r>
            <a:endParaRPr lang="en-DE" sz="1000" dirty="0" err="1"/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9335C3F6-CA20-41BC-B22E-8346700467A0}"/>
              </a:ext>
            </a:extLst>
          </p:cNvPr>
          <p:cNvSpPr txBox="1"/>
          <p:nvPr/>
        </p:nvSpPr>
        <p:spPr>
          <a:xfrm>
            <a:off x="3153223" y="1457596"/>
            <a:ext cx="106933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/>
              <a:t>Schalter</a:t>
            </a:r>
            <a:endParaRPr lang="en-DE" sz="1000" dirty="0" err="1"/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E47E31C9-0F40-45D6-A960-9C87A684D956}"/>
              </a:ext>
            </a:extLst>
          </p:cNvPr>
          <p:cNvSpPr txBox="1"/>
          <p:nvPr/>
        </p:nvSpPr>
        <p:spPr>
          <a:xfrm>
            <a:off x="6576240" y="1256178"/>
            <a:ext cx="1069339" cy="3642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/>
              <a:t>Controller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/>
              <a:t>[ WEMOS D1 Mini ]</a:t>
            </a:r>
            <a:endParaRPr lang="en-DE" sz="1000" dirty="0" err="1"/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708BB9A4-C48B-4DF6-A5F0-BF0A2D6B6190}"/>
              </a:ext>
            </a:extLst>
          </p:cNvPr>
          <p:cNvSpPr txBox="1"/>
          <p:nvPr/>
        </p:nvSpPr>
        <p:spPr>
          <a:xfrm>
            <a:off x="3575329" y="3604946"/>
            <a:ext cx="1223715" cy="3642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 err="1"/>
              <a:t>Voltage</a:t>
            </a:r>
            <a:r>
              <a:rPr lang="de-DE" sz="1200" b="1" dirty="0"/>
              <a:t> Booster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/>
              <a:t>[ </a:t>
            </a:r>
            <a:r>
              <a:rPr lang="de-DE" sz="1000" dirty="0" err="1"/>
              <a:t>Step</a:t>
            </a:r>
            <a:r>
              <a:rPr lang="de-DE" sz="1000" dirty="0"/>
              <a:t>-Up 5V Out ]</a:t>
            </a:r>
            <a:endParaRPr lang="en-DE" sz="1000" dirty="0" err="1"/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B2575387-A704-4AC6-BEF1-2E44882784EE}"/>
              </a:ext>
            </a:extLst>
          </p:cNvPr>
          <p:cNvSpPr txBox="1"/>
          <p:nvPr/>
        </p:nvSpPr>
        <p:spPr>
          <a:xfrm>
            <a:off x="6204153" y="6244294"/>
            <a:ext cx="1223715" cy="3642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/>
              <a:t>Motortreiber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/>
              <a:t>[ DRV8833 H-Bridge ]</a:t>
            </a:r>
            <a:endParaRPr lang="en-DE" sz="1000" dirty="0" err="1"/>
          </a:p>
        </p:txBody>
      </p:sp>
      <p:sp>
        <p:nvSpPr>
          <p:cNvPr id="119" name="Oval 118">
            <a:extLst>
              <a:ext uri="{FF2B5EF4-FFF2-40B4-BE49-F238E27FC236}">
                <a16:creationId xmlns:a16="http://schemas.microsoft.com/office/drawing/2014/main" id="{4ABF6B63-4E15-4A11-8665-4BE7FC26F4A5}"/>
              </a:ext>
            </a:extLst>
          </p:cNvPr>
          <p:cNvSpPr/>
          <p:nvPr/>
        </p:nvSpPr>
        <p:spPr>
          <a:xfrm>
            <a:off x="3387284" y="3456979"/>
            <a:ext cx="72000" cy="72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20" name="Oval 119">
            <a:extLst>
              <a:ext uri="{FF2B5EF4-FFF2-40B4-BE49-F238E27FC236}">
                <a16:creationId xmlns:a16="http://schemas.microsoft.com/office/drawing/2014/main" id="{FC6C272E-2DA5-4B54-8B96-AFBED35377A4}"/>
              </a:ext>
            </a:extLst>
          </p:cNvPr>
          <p:cNvSpPr/>
          <p:nvPr/>
        </p:nvSpPr>
        <p:spPr>
          <a:xfrm>
            <a:off x="8052852" y="3441811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21" name="Oval 120">
            <a:extLst>
              <a:ext uri="{FF2B5EF4-FFF2-40B4-BE49-F238E27FC236}">
                <a16:creationId xmlns:a16="http://schemas.microsoft.com/office/drawing/2014/main" id="{7B976AC9-1A4B-4F13-9394-CE88C210FA07}"/>
              </a:ext>
            </a:extLst>
          </p:cNvPr>
          <p:cNvSpPr/>
          <p:nvPr/>
        </p:nvSpPr>
        <p:spPr>
          <a:xfrm>
            <a:off x="3200080" y="3457647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34" name="Oval 133">
            <a:extLst>
              <a:ext uri="{FF2B5EF4-FFF2-40B4-BE49-F238E27FC236}">
                <a16:creationId xmlns:a16="http://schemas.microsoft.com/office/drawing/2014/main" id="{2C7FF4B0-BE53-4852-ADE4-5A080357159B}"/>
              </a:ext>
            </a:extLst>
          </p:cNvPr>
          <p:cNvSpPr/>
          <p:nvPr/>
        </p:nvSpPr>
        <p:spPr>
          <a:xfrm>
            <a:off x="7924625" y="3042714"/>
            <a:ext cx="72000" cy="72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2D15DBD6-0AAB-4397-9A37-94EA07D23FCA}"/>
              </a:ext>
            </a:extLst>
          </p:cNvPr>
          <p:cNvSpPr/>
          <p:nvPr/>
        </p:nvSpPr>
        <p:spPr>
          <a:xfrm>
            <a:off x="7164383" y="5944942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123" name="Connector: Elbow 122">
            <a:extLst>
              <a:ext uri="{FF2B5EF4-FFF2-40B4-BE49-F238E27FC236}">
                <a16:creationId xmlns:a16="http://schemas.microsoft.com/office/drawing/2014/main" id="{A7E02909-2C03-4450-8FB3-167DDE9F4B66}"/>
              </a:ext>
            </a:extLst>
          </p:cNvPr>
          <p:cNvCxnSpPr>
            <a:cxnSpLocks/>
            <a:stCxn id="122" idx="3"/>
            <a:endCxn id="124" idx="1"/>
          </p:cNvCxnSpPr>
          <p:nvPr/>
        </p:nvCxnSpPr>
        <p:spPr>
          <a:xfrm flipH="1" flipV="1">
            <a:off x="6523544" y="2226990"/>
            <a:ext cx="748851" cy="3771958"/>
          </a:xfrm>
          <a:prstGeom prst="bentConnector5">
            <a:avLst>
              <a:gd name="adj1" fmla="val -30527"/>
              <a:gd name="adj2" fmla="val -5667"/>
              <a:gd name="adj3" fmla="val 197799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Rectangle 123">
            <a:extLst>
              <a:ext uri="{FF2B5EF4-FFF2-40B4-BE49-F238E27FC236}">
                <a16:creationId xmlns:a16="http://schemas.microsoft.com/office/drawing/2014/main" id="{12DDAD54-D769-4590-B759-D3C725587589}"/>
              </a:ext>
            </a:extLst>
          </p:cNvPr>
          <p:cNvSpPr/>
          <p:nvPr/>
        </p:nvSpPr>
        <p:spPr>
          <a:xfrm>
            <a:off x="6523544" y="2172984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0BDF631B-C341-4216-B6C9-D61F9D6C6283}"/>
              </a:ext>
            </a:extLst>
          </p:cNvPr>
          <p:cNvSpPr/>
          <p:nvPr/>
        </p:nvSpPr>
        <p:spPr>
          <a:xfrm>
            <a:off x="1285168" y="2825819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2FA1BBAF-7BA1-4C8C-9E48-4EB9E51287A7}"/>
              </a:ext>
            </a:extLst>
          </p:cNvPr>
          <p:cNvSpPr/>
          <p:nvPr/>
        </p:nvSpPr>
        <p:spPr>
          <a:xfrm>
            <a:off x="1285168" y="3421179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4208E4BE-6D75-4F03-8808-4DD1C358E60C}"/>
              </a:ext>
            </a:extLst>
          </p:cNvPr>
          <p:cNvSpPr/>
          <p:nvPr/>
        </p:nvSpPr>
        <p:spPr>
          <a:xfrm>
            <a:off x="182044" y="2831071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0C775EBC-0132-4901-AB25-2262ABAC2D66}"/>
              </a:ext>
            </a:extLst>
          </p:cNvPr>
          <p:cNvSpPr/>
          <p:nvPr/>
        </p:nvSpPr>
        <p:spPr>
          <a:xfrm>
            <a:off x="182044" y="3426431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55820E37-0C45-44B1-B435-BBC9ED95193A}"/>
              </a:ext>
            </a:extLst>
          </p:cNvPr>
          <p:cNvCxnSpPr>
            <a:stCxn id="89" idx="3"/>
            <a:endCxn id="87" idx="1"/>
          </p:cNvCxnSpPr>
          <p:nvPr/>
        </p:nvCxnSpPr>
        <p:spPr>
          <a:xfrm flipV="1">
            <a:off x="290056" y="2879825"/>
            <a:ext cx="995112" cy="5252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5DABB561-7A2D-4604-AAA6-323A402674E9}"/>
              </a:ext>
            </a:extLst>
          </p:cNvPr>
          <p:cNvCxnSpPr>
            <a:cxnSpLocks/>
            <a:stCxn id="90" idx="3"/>
            <a:endCxn id="88" idx="1"/>
          </p:cNvCxnSpPr>
          <p:nvPr/>
        </p:nvCxnSpPr>
        <p:spPr>
          <a:xfrm flipV="1">
            <a:off x="290056" y="3475185"/>
            <a:ext cx="995112" cy="5252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3174B6F9-C102-4921-968C-F5CB6F6FBBED}"/>
              </a:ext>
            </a:extLst>
          </p:cNvPr>
          <p:cNvCxnSpPr/>
          <p:nvPr/>
        </p:nvCxnSpPr>
        <p:spPr>
          <a:xfrm>
            <a:off x="522855" y="3132397"/>
            <a:ext cx="2880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0FEA7BC8-A55F-45D7-941C-78B976F42945}"/>
              </a:ext>
            </a:extLst>
          </p:cNvPr>
          <p:cNvCxnSpPr/>
          <p:nvPr/>
        </p:nvCxnSpPr>
        <p:spPr>
          <a:xfrm>
            <a:off x="522855" y="3243229"/>
            <a:ext cx="2880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9F8710D5-6406-4E31-B57C-2ECA039ED576}"/>
              </a:ext>
            </a:extLst>
          </p:cNvPr>
          <p:cNvCxnSpPr>
            <a:cxnSpLocks/>
          </p:cNvCxnSpPr>
          <p:nvPr/>
        </p:nvCxnSpPr>
        <p:spPr>
          <a:xfrm flipV="1">
            <a:off x="654565" y="2885077"/>
            <a:ext cx="0" cy="238422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7438F7CA-349B-4E7A-85A3-1288C2000933}"/>
              </a:ext>
            </a:extLst>
          </p:cNvPr>
          <p:cNvCxnSpPr>
            <a:cxnSpLocks/>
          </p:cNvCxnSpPr>
          <p:nvPr/>
        </p:nvCxnSpPr>
        <p:spPr>
          <a:xfrm flipV="1">
            <a:off x="654565" y="3243229"/>
            <a:ext cx="0" cy="238422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Oval 105">
            <a:extLst>
              <a:ext uri="{FF2B5EF4-FFF2-40B4-BE49-F238E27FC236}">
                <a16:creationId xmlns:a16="http://schemas.microsoft.com/office/drawing/2014/main" id="{E08B960C-61AC-4051-88D4-6D731CD9EB66}"/>
              </a:ext>
            </a:extLst>
          </p:cNvPr>
          <p:cNvSpPr/>
          <p:nvPr/>
        </p:nvSpPr>
        <p:spPr>
          <a:xfrm>
            <a:off x="620229" y="3455100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07" name="Oval 106">
            <a:extLst>
              <a:ext uri="{FF2B5EF4-FFF2-40B4-BE49-F238E27FC236}">
                <a16:creationId xmlns:a16="http://schemas.microsoft.com/office/drawing/2014/main" id="{F1BA8770-8C99-4CB1-A263-735A091A855D}"/>
              </a:ext>
            </a:extLst>
          </p:cNvPr>
          <p:cNvSpPr/>
          <p:nvPr/>
        </p:nvSpPr>
        <p:spPr>
          <a:xfrm>
            <a:off x="616464" y="2842698"/>
            <a:ext cx="72000" cy="72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pic>
        <p:nvPicPr>
          <p:cNvPr id="84" name="Picture 83">
            <a:extLst>
              <a:ext uri="{FF2B5EF4-FFF2-40B4-BE49-F238E27FC236}">
                <a16:creationId xmlns:a16="http://schemas.microsoft.com/office/drawing/2014/main" id="{0FD5904B-63EB-4E32-9320-4E209A716B9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rot="16200000">
            <a:off x="8566356" y="3922704"/>
            <a:ext cx="939900" cy="918975"/>
          </a:xfrm>
          <a:prstGeom prst="rect">
            <a:avLst/>
          </a:prstGeom>
        </p:spPr>
      </p:pic>
      <p:sp>
        <p:nvSpPr>
          <p:cNvPr id="117" name="Rectangle 116">
            <a:extLst>
              <a:ext uri="{FF2B5EF4-FFF2-40B4-BE49-F238E27FC236}">
                <a16:creationId xmlns:a16="http://schemas.microsoft.com/office/drawing/2014/main" id="{B8ACBC0B-D44C-4D45-B20A-48224C41894E}"/>
              </a:ext>
            </a:extLst>
          </p:cNvPr>
          <p:cNvSpPr/>
          <p:nvPr/>
        </p:nvSpPr>
        <p:spPr>
          <a:xfrm>
            <a:off x="8608559" y="4731679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F234DB90-9875-4DDF-8AE5-ADF475AA0D7D}"/>
              </a:ext>
            </a:extLst>
          </p:cNvPr>
          <p:cNvSpPr/>
          <p:nvPr/>
        </p:nvSpPr>
        <p:spPr>
          <a:xfrm>
            <a:off x="9257897" y="4731679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C8CD90C4-4100-4C1A-A2C6-516E6CF54C0A}"/>
              </a:ext>
            </a:extLst>
          </p:cNvPr>
          <p:cNvSpPr/>
          <p:nvPr/>
        </p:nvSpPr>
        <p:spPr>
          <a:xfrm>
            <a:off x="9365971" y="4731679"/>
            <a:ext cx="108012" cy="1080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714F1925-F1DC-49F5-B223-E33F49A94E07}"/>
              </a:ext>
            </a:extLst>
          </p:cNvPr>
          <p:cNvSpPr/>
          <p:nvPr/>
        </p:nvSpPr>
        <p:spPr>
          <a:xfrm>
            <a:off x="9149854" y="4731679"/>
            <a:ext cx="108012" cy="1080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C8FAD887-3668-4C2D-9BAB-77279C5691BA}"/>
              </a:ext>
            </a:extLst>
          </p:cNvPr>
          <p:cNvSpPr/>
          <p:nvPr/>
        </p:nvSpPr>
        <p:spPr>
          <a:xfrm>
            <a:off x="8712506" y="4731679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E2993734-4430-4457-8292-53D7BF174C27}"/>
              </a:ext>
            </a:extLst>
          </p:cNvPr>
          <p:cNvSpPr/>
          <p:nvPr/>
        </p:nvSpPr>
        <p:spPr>
          <a:xfrm>
            <a:off x="8820611" y="4731679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147" name="Connector: Elbow 146">
            <a:extLst>
              <a:ext uri="{FF2B5EF4-FFF2-40B4-BE49-F238E27FC236}">
                <a16:creationId xmlns:a16="http://schemas.microsoft.com/office/drawing/2014/main" id="{417E1520-5839-488C-968A-9E7EBD14E172}"/>
              </a:ext>
            </a:extLst>
          </p:cNvPr>
          <p:cNvCxnSpPr>
            <a:cxnSpLocks/>
            <a:stCxn id="120" idx="4"/>
            <a:endCxn id="125" idx="2"/>
          </p:cNvCxnSpPr>
          <p:nvPr/>
        </p:nvCxnSpPr>
        <p:spPr>
          <a:xfrm rot="16200000" flipH="1">
            <a:off x="8037437" y="3565225"/>
            <a:ext cx="1325880" cy="1223051"/>
          </a:xfrm>
          <a:prstGeom prst="bentConnector3">
            <a:avLst>
              <a:gd name="adj1" fmla="val 144061"/>
            </a:avLst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Connector: Elbow 150">
            <a:extLst>
              <a:ext uri="{FF2B5EF4-FFF2-40B4-BE49-F238E27FC236}">
                <a16:creationId xmlns:a16="http://schemas.microsoft.com/office/drawing/2014/main" id="{EA5BBE29-E830-4AA8-9672-F3D02FD3A51A}"/>
              </a:ext>
            </a:extLst>
          </p:cNvPr>
          <p:cNvCxnSpPr>
            <a:cxnSpLocks/>
            <a:stCxn id="134" idx="4"/>
            <a:endCxn id="117" idx="2"/>
          </p:cNvCxnSpPr>
          <p:nvPr/>
        </p:nvCxnSpPr>
        <p:spPr>
          <a:xfrm rot="16200000" flipH="1">
            <a:off x="7449107" y="3626232"/>
            <a:ext cx="1724977" cy="701940"/>
          </a:xfrm>
          <a:prstGeom prst="bentConnector3">
            <a:avLst>
              <a:gd name="adj1" fmla="val 126136"/>
            </a:avLst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Connector: Elbow 154">
            <a:extLst>
              <a:ext uri="{FF2B5EF4-FFF2-40B4-BE49-F238E27FC236}">
                <a16:creationId xmlns:a16="http://schemas.microsoft.com/office/drawing/2014/main" id="{687DAEDB-0555-4C11-8F96-A127BAB1CDF9}"/>
              </a:ext>
            </a:extLst>
          </p:cNvPr>
          <p:cNvCxnSpPr>
            <a:cxnSpLocks/>
            <a:stCxn id="165" idx="1"/>
            <a:endCxn id="127" idx="2"/>
          </p:cNvCxnSpPr>
          <p:nvPr/>
        </p:nvCxnSpPr>
        <p:spPr>
          <a:xfrm rot="10800000">
            <a:off x="9203861" y="4839692"/>
            <a:ext cx="1451155" cy="508217"/>
          </a:xfrm>
          <a:prstGeom prst="bentConnector2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Connector: Elbow 158">
            <a:extLst>
              <a:ext uri="{FF2B5EF4-FFF2-40B4-BE49-F238E27FC236}">
                <a16:creationId xmlns:a16="http://schemas.microsoft.com/office/drawing/2014/main" id="{A6660C19-028D-4160-878F-E7C16247C899}"/>
              </a:ext>
            </a:extLst>
          </p:cNvPr>
          <p:cNvCxnSpPr>
            <a:cxnSpLocks/>
            <a:stCxn id="164" idx="1"/>
            <a:endCxn id="126" idx="2"/>
          </p:cNvCxnSpPr>
          <p:nvPr/>
        </p:nvCxnSpPr>
        <p:spPr>
          <a:xfrm rot="10800000">
            <a:off x="9419978" y="4839691"/>
            <a:ext cx="1228477" cy="343980"/>
          </a:xfrm>
          <a:prstGeom prst="bentConnector2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tangle 163">
            <a:extLst>
              <a:ext uri="{FF2B5EF4-FFF2-40B4-BE49-F238E27FC236}">
                <a16:creationId xmlns:a16="http://schemas.microsoft.com/office/drawing/2014/main" id="{35CEFD73-3EC7-42BF-B3CB-3109FAE6DF91}"/>
              </a:ext>
            </a:extLst>
          </p:cNvPr>
          <p:cNvSpPr/>
          <p:nvPr/>
        </p:nvSpPr>
        <p:spPr>
          <a:xfrm>
            <a:off x="10648454" y="5129665"/>
            <a:ext cx="108012" cy="1080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BFCD8BE4-7DDE-432D-9B98-6929FC3661C0}"/>
              </a:ext>
            </a:extLst>
          </p:cNvPr>
          <p:cNvSpPr/>
          <p:nvPr/>
        </p:nvSpPr>
        <p:spPr>
          <a:xfrm>
            <a:off x="10655015" y="5293902"/>
            <a:ext cx="108012" cy="1080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pic>
        <p:nvPicPr>
          <p:cNvPr id="170" name="Picture 4">
            <a:extLst>
              <a:ext uri="{FF2B5EF4-FFF2-40B4-BE49-F238E27FC236}">
                <a16:creationId xmlns:a16="http://schemas.microsoft.com/office/drawing/2014/main" id="{A123ED6B-2F82-45B6-A9EE-DF0A56D3EB2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17" t="-498" r="24737" b="28011"/>
          <a:stretch/>
        </p:blipFill>
        <p:spPr bwMode="auto">
          <a:xfrm>
            <a:off x="9892242" y="1277718"/>
            <a:ext cx="599477" cy="6662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3" name="Rectangle 172">
            <a:extLst>
              <a:ext uri="{FF2B5EF4-FFF2-40B4-BE49-F238E27FC236}">
                <a16:creationId xmlns:a16="http://schemas.microsoft.com/office/drawing/2014/main" id="{99CC7824-FB92-47E4-A52C-FD41DF463B7C}"/>
              </a:ext>
            </a:extLst>
          </p:cNvPr>
          <p:cNvSpPr/>
          <p:nvPr/>
        </p:nvSpPr>
        <p:spPr>
          <a:xfrm>
            <a:off x="10131957" y="1844759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C70302B9-8694-411B-B422-0A0FCFC4A6E6}"/>
              </a:ext>
            </a:extLst>
          </p:cNvPr>
          <p:cNvSpPr/>
          <p:nvPr/>
        </p:nvSpPr>
        <p:spPr>
          <a:xfrm>
            <a:off x="9991013" y="1844759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76" name="Rectangle 175">
            <a:extLst>
              <a:ext uri="{FF2B5EF4-FFF2-40B4-BE49-F238E27FC236}">
                <a16:creationId xmlns:a16="http://schemas.microsoft.com/office/drawing/2014/main" id="{DE77767A-D306-42EC-8F7A-603B27586531}"/>
              </a:ext>
            </a:extLst>
          </p:cNvPr>
          <p:cNvSpPr/>
          <p:nvPr/>
        </p:nvSpPr>
        <p:spPr>
          <a:xfrm>
            <a:off x="10272901" y="1844759"/>
            <a:ext cx="108012" cy="1080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pic>
        <p:nvPicPr>
          <p:cNvPr id="177" name="Picture 4">
            <a:extLst>
              <a:ext uri="{FF2B5EF4-FFF2-40B4-BE49-F238E27FC236}">
                <a16:creationId xmlns:a16="http://schemas.microsoft.com/office/drawing/2014/main" id="{E84C4D6F-4CFE-4022-9C3E-64AE2B69495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17" t="-498" r="24737" b="28011"/>
          <a:stretch/>
        </p:blipFill>
        <p:spPr bwMode="auto">
          <a:xfrm>
            <a:off x="9892242" y="2072144"/>
            <a:ext cx="599477" cy="6662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8" name="Rectangle 177">
            <a:extLst>
              <a:ext uri="{FF2B5EF4-FFF2-40B4-BE49-F238E27FC236}">
                <a16:creationId xmlns:a16="http://schemas.microsoft.com/office/drawing/2014/main" id="{3B05168D-3C69-49FE-BCBB-A0ED00712925}"/>
              </a:ext>
            </a:extLst>
          </p:cNvPr>
          <p:cNvSpPr/>
          <p:nvPr/>
        </p:nvSpPr>
        <p:spPr>
          <a:xfrm>
            <a:off x="10131957" y="2639185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E0280660-0DA9-4D59-B9A4-024344E9DAB7}"/>
              </a:ext>
            </a:extLst>
          </p:cNvPr>
          <p:cNvSpPr/>
          <p:nvPr/>
        </p:nvSpPr>
        <p:spPr>
          <a:xfrm>
            <a:off x="9991013" y="2639185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1E337429-F0DF-480C-BE99-D32F913EBB5A}"/>
              </a:ext>
            </a:extLst>
          </p:cNvPr>
          <p:cNvSpPr/>
          <p:nvPr/>
        </p:nvSpPr>
        <p:spPr>
          <a:xfrm>
            <a:off x="10272901" y="2639185"/>
            <a:ext cx="108012" cy="1080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pic>
        <p:nvPicPr>
          <p:cNvPr id="181" name="Picture 4">
            <a:extLst>
              <a:ext uri="{FF2B5EF4-FFF2-40B4-BE49-F238E27FC236}">
                <a16:creationId xmlns:a16="http://schemas.microsoft.com/office/drawing/2014/main" id="{5CF6C160-E2EB-482F-95A6-089FE13B745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17" t="-498" r="24737" b="28011"/>
          <a:stretch/>
        </p:blipFill>
        <p:spPr bwMode="auto">
          <a:xfrm>
            <a:off x="9892242" y="2868235"/>
            <a:ext cx="599477" cy="6662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2" name="Rectangle 181">
            <a:extLst>
              <a:ext uri="{FF2B5EF4-FFF2-40B4-BE49-F238E27FC236}">
                <a16:creationId xmlns:a16="http://schemas.microsoft.com/office/drawing/2014/main" id="{C0E8B308-8248-408D-872A-A636E16025EE}"/>
              </a:ext>
            </a:extLst>
          </p:cNvPr>
          <p:cNvSpPr/>
          <p:nvPr/>
        </p:nvSpPr>
        <p:spPr>
          <a:xfrm>
            <a:off x="10131957" y="3435276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5A8EBDC4-F91A-4495-8A0E-0E94F45160C4}"/>
              </a:ext>
            </a:extLst>
          </p:cNvPr>
          <p:cNvSpPr/>
          <p:nvPr/>
        </p:nvSpPr>
        <p:spPr>
          <a:xfrm>
            <a:off x="9991013" y="3435276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C2D3C706-AEE7-4AE7-8E04-8CBDD25B7DAB}"/>
              </a:ext>
            </a:extLst>
          </p:cNvPr>
          <p:cNvSpPr/>
          <p:nvPr/>
        </p:nvSpPr>
        <p:spPr>
          <a:xfrm>
            <a:off x="10272901" y="3435276"/>
            <a:ext cx="108012" cy="1080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grpSp>
        <p:nvGrpSpPr>
          <p:cNvPr id="13312" name="Group 13311">
            <a:extLst>
              <a:ext uri="{FF2B5EF4-FFF2-40B4-BE49-F238E27FC236}">
                <a16:creationId xmlns:a16="http://schemas.microsoft.com/office/drawing/2014/main" id="{3D0030C0-D504-439E-AD95-DE6DE5B1E1A8}"/>
              </a:ext>
            </a:extLst>
          </p:cNvPr>
          <p:cNvGrpSpPr/>
          <p:nvPr/>
        </p:nvGrpSpPr>
        <p:grpSpPr>
          <a:xfrm rot="16200000">
            <a:off x="7295453" y="97885"/>
            <a:ext cx="619272" cy="1137438"/>
            <a:chOff x="8664872" y="228526"/>
            <a:chExt cx="619272" cy="1137438"/>
          </a:xfrm>
        </p:grpSpPr>
        <p:pic>
          <p:nvPicPr>
            <p:cNvPr id="77" name="Picture 76">
              <a:extLst>
                <a:ext uri="{FF2B5EF4-FFF2-40B4-BE49-F238E27FC236}">
                  <a16:creationId xmlns:a16="http://schemas.microsoft.com/office/drawing/2014/main" id="{C1767658-E408-4C1C-BA37-26420B6AA52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 rot="10800000">
              <a:off x="8664872" y="228526"/>
              <a:ext cx="619272" cy="1137438"/>
            </a:xfrm>
            <a:prstGeom prst="rect">
              <a:avLst/>
            </a:prstGeom>
          </p:spPr>
        </p:pic>
        <p:sp>
          <p:nvSpPr>
            <p:cNvPr id="185" name="Rectangle 184">
              <a:extLst>
                <a:ext uri="{FF2B5EF4-FFF2-40B4-BE49-F238E27FC236}">
                  <a16:creationId xmlns:a16="http://schemas.microsoft.com/office/drawing/2014/main" id="{87276C41-5869-4249-92AA-CC871BA58873}"/>
                </a:ext>
              </a:extLst>
            </p:cNvPr>
            <p:cNvSpPr/>
            <p:nvPr/>
          </p:nvSpPr>
          <p:spPr>
            <a:xfrm>
              <a:off x="8840896" y="1231861"/>
              <a:ext cx="108012" cy="10801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DE" sz="1400" dirty="0" err="1"/>
            </a:p>
          </p:txBody>
        </p:sp>
        <p:sp>
          <p:nvSpPr>
            <p:cNvPr id="186" name="Rectangle 185">
              <a:extLst>
                <a:ext uri="{FF2B5EF4-FFF2-40B4-BE49-F238E27FC236}">
                  <a16:creationId xmlns:a16="http://schemas.microsoft.com/office/drawing/2014/main" id="{F500E488-A735-4086-9A54-E1CF24F7E7F1}"/>
                </a:ext>
              </a:extLst>
            </p:cNvPr>
            <p:cNvSpPr/>
            <p:nvPr/>
          </p:nvSpPr>
          <p:spPr>
            <a:xfrm>
              <a:off x="8702190" y="1231861"/>
              <a:ext cx="108012" cy="10801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DE" sz="1400" dirty="0" err="1"/>
            </a:p>
          </p:txBody>
        </p:sp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D3C63CB5-9816-4C58-BC00-48FDAF44F7B8}"/>
                </a:ext>
              </a:extLst>
            </p:cNvPr>
            <p:cNvSpPr/>
            <p:nvPr/>
          </p:nvSpPr>
          <p:spPr>
            <a:xfrm>
              <a:off x="9126151" y="1231861"/>
              <a:ext cx="108012" cy="108012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DE" sz="1400" dirty="0" err="1"/>
            </a:p>
          </p:txBody>
        </p:sp>
        <p:sp>
          <p:nvSpPr>
            <p:cNvPr id="188" name="Rectangle 187">
              <a:extLst>
                <a:ext uri="{FF2B5EF4-FFF2-40B4-BE49-F238E27FC236}">
                  <a16:creationId xmlns:a16="http://schemas.microsoft.com/office/drawing/2014/main" id="{9317C922-EEF4-4BE8-A363-46C8FB5656B2}"/>
                </a:ext>
              </a:extLst>
            </p:cNvPr>
            <p:cNvSpPr/>
            <p:nvPr/>
          </p:nvSpPr>
          <p:spPr>
            <a:xfrm>
              <a:off x="8985207" y="1231861"/>
              <a:ext cx="108012" cy="10801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DE" sz="1400" dirty="0" err="1"/>
            </a:p>
          </p:txBody>
        </p:sp>
      </p:grpSp>
      <p:sp>
        <p:nvSpPr>
          <p:cNvPr id="189" name="TextBox 188">
            <a:extLst>
              <a:ext uri="{FF2B5EF4-FFF2-40B4-BE49-F238E27FC236}">
                <a16:creationId xmlns:a16="http://schemas.microsoft.com/office/drawing/2014/main" id="{6035375B-11C6-4F57-A7CD-3634EDE8E907}"/>
              </a:ext>
            </a:extLst>
          </p:cNvPr>
          <p:cNvSpPr txBox="1"/>
          <p:nvPr/>
        </p:nvSpPr>
        <p:spPr>
          <a:xfrm>
            <a:off x="9485135" y="3630348"/>
            <a:ext cx="432000" cy="18466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/>
              <a:t>2.2K</a:t>
            </a:r>
            <a:endParaRPr lang="en-DE" sz="1200" dirty="0" err="1"/>
          </a:p>
        </p:txBody>
      </p:sp>
      <p:sp>
        <p:nvSpPr>
          <p:cNvPr id="190" name="TextBox 189">
            <a:extLst>
              <a:ext uri="{FF2B5EF4-FFF2-40B4-BE49-F238E27FC236}">
                <a16:creationId xmlns:a16="http://schemas.microsoft.com/office/drawing/2014/main" id="{B44FCC7E-8111-4ECE-803C-414754B319BC}"/>
              </a:ext>
            </a:extLst>
          </p:cNvPr>
          <p:cNvSpPr txBox="1"/>
          <p:nvPr/>
        </p:nvSpPr>
        <p:spPr>
          <a:xfrm>
            <a:off x="7879595" y="1150322"/>
            <a:ext cx="432000" cy="18466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/>
              <a:t>10K</a:t>
            </a:r>
            <a:endParaRPr lang="en-DE" sz="1200" dirty="0" err="1"/>
          </a:p>
        </p:txBody>
      </p:sp>
      <p:sp>
        <p:nvSpPr>
          <p:cNvPr id="195" name="Oval 194">
            <a:extLst>
              <a:ext uri="{FF2B5EF4-FFF2-40B4-BE49-F238E27FC236}">
                <a16:creationId xmlns:a16="http://schemas.microsoft.com/office/drawing/2014/main" id="{73217832-A517-4F63-A4CC-3DCD2D44E1DB}"/>
              </a:ext>
            </a:extLst>
          </p:cNvPr>
          <p:cNvSpPr/>
          <p:nvPr/>
        </p:nvSpPr>
        <p:spPr>
          <a:xfrm>
            <a:off x="8041779" y="2658122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2C071345-8532-4DC2-A85A-0573E49AAE53}"/>
              </a:ext>
            </a:extLst>
          </p:cNvPr>
          <p:cNvCxnSpPr>
            <a:cxnSpLocks/>
            <a:stCxn id="195" idx="6"/>
            <a:endCxn id="179" idx="1"/>
          </p:cNvCxnSpPr>
          <p:nvPr/>
        </p:nvCxnSpPr>
        <p:spPr>
          <a:xfrm flipV="1">
            <a:off x="8113779" y="2693191"/>
            <a:ext cx="1877234" cy="931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0" name="Oval 199">
            <a:extLst>
              <a:ext uri="{FF2B5EF4-FFF2-40B4-BE49-F238E27FC236}">
                <a16:creationId xmlns:a16="http://schemas.microsoft.com/office/drawing/2014/main" id="{B93C7E2D-6AE8-4EDA-A6A3-1AA3106E2D97}"/>
              </a:ext>
            </a:extLst>
          </p:cNvPr>
          <p:cNvSpPr/>
          <p:nvPr/>
        </p:nvSpPr>
        <p:spPr>
          <a:xfrm>
            <a:off x="9669496" y="2658122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201" name="Connector: Elbow 200">
            <a:extLst>
              <a:ext uri="{FF2B5EF4-FFF2-40B4-BE49-F238E27FC236}">
                <a16:creationId xmlns:a16="http://schemas.microsoft.com/office/drawing/2014/main" id="{6AE58581-B8E5-40CA-9019-28FE1788A5F2}"/>
              </a:ext>
            </a:extLst>
          </p:cNvPr>
          <p:cNvCxnSpPr>
            <a:cxnSpLocks/>
            <a:stCxn id="183" idx="1"/>
            <a:endCxn id="200" idx="4"/>
          </p:cNvCxnSpPr>
          <p:nvPr/>
        </p:nvCxnSpPr>
        <p:spPr>
          <a:xfrm rot="10800000">
            <a:off x="9705497" y="2730122"/>
            <a:ext cx="285517" cy="759160"/>
          </a:xfrm>
          <a:prstGeom prst="bentConnector2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4" name="Connector: Elbow 203">
            <a:extLst>
              <a:ext uri="{FF2B5EF4-FFF2-40B4-BE49-F238E27FC236}">
                <a16:creationId xmlns:a16="http://schemas.microsoft.com/office/drawing/2014/main" id="{BA938332-FB33-4C98-8096-0E1B4C7E164B}"/>
              </a:ext>
            </a:extLst>
          </p:cNvPr>
          <p:cNvCxnSpPr>
            <a:cxnSpLocks/>
            <a:stCxn id="174" idx="1"/>
            <a:endCxn id="200" idx="0"/>
          </p:cNvCxnSpPr>
          <p:nvPr/>
        </p:nvCxnSpPr>
        <p:spPr>
          <a:xfrm rot="10800000" flipV="1">
            <a:off x="9705497" y="1898764"/>
            <a:ext cx="285517" cy="759357"/>
          </a:xfrm>
          <a:prstGeom prst="bentConnector2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3" name="TextBox 192">
            <a:extLst>
              <a:ext uri="{FF2B5EF4-FFF2-40B4-BE49-F238E27FC236}">
                <a16:creationId xmlns:a16="http://schemas.microsoft.com/office/drawing/2014/main" id="{84ACEBE2-F1C0-4062-A651-9F626B18A9F2}"/>
              </a:ext>
            </a:extLst>
          </p:cNvPr>
          <p:cNvSpPr txBox="1"/>
          <p:nvPr/>
        </p:nvSpPr>
        <p:spPr>
          <a:xfrm>
            <a:off x="9485135" y="2790966"/>
            <a:ext cx="432000" cy="18466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/>
              <a:t>2.2K</a:t>
            </a:r>
            <a:endParaRPr lang="en-DE" sz="1200" dirty="0" err="1"/>
          </a:p>
        </p:txBody>
      </p:sp>
      <p:sp>
        <p:nvSpPr>
          <p:cNvPr id="194" name="TextBox 193">
            <a:extLst>
              <a:ext uri="{FF2B5EF4-FFF2-40B4-BE49-F238E27FC236}">
                <a16:creationId xmlns:a16="http://schemas.microsoft.com/office/drawing/2014/main" id="{BA72EEA6-36D1-485C-99B0-B25437BFCD25}"/>
              </a:ext>
            </a:extLst>
          </p:cNvPr>
          <p:cNvSpPr txBox="1"/>
          <p:nvPr/>
        </p:nvSpPr>
        <p:spPr>
          <a:xfrm>
            <a:off x="9485135" y="1997885"/>
            <a:ext cx="432000" cy="18466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/>
              <a:t>2.2K</a:t>
            </a:r>
            <a:endParaRPr lang="en-DE" sz="1200" dirty="0" err="1"/>
          </a:p>
        </p:txBody>
      </p:sp>
      <p:sp>
        <p:nvSpPr>
          <p:cNvPr id="215" name="Rectangle 214">
            <a:extLst>
              <a:ext uri="{FF2B5EF4-FFF2-40B4-BE49-F238E27FC236}">
                <a16:creationId xmlns:a16="http://schemas.microsoft.com/office/drawing/2014/main" id="{6F11CA19-1210-4809-955F-5E5B4C744870}"/>
              </a:ext>
            </a:extLst>
          </p:cNvPr>
          <p:cNvSpPr/>
          <p:nvPr/>
        </p:nvSpPr>
        <p:spPr>
          <a:xfrm>
            <a:off x="7593656" y="2287398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16" name="Rectangle 215">
            <a:extLst>
              <a:ext uri="{FF2B5EF4-FFF2-40B4-BE49-F238E27FC236}">
                <a16:creationId xmlns:a16="http://schemas.microsoft.com/office/drawing/2014/main" id="{4D56C892-3A12-4F89-9BA6-BC4C4B271E6D}"/>
              </a:ext>
            </a:extLst>
          </p:cNvPr>
          <p:cNvSpPr/>
          <p:nvPr/>
        </p:nvSpPr>
        <p:spPr>
          <a:xfrm>
            <a:off x="7595391" y="2161614"/>
            <a:ext cx="108012" cy="1080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218" name="Connector: Elbow 217">
            <a:extLst>
              <a:ext uri="{FF2B5EF4-FFF2-40B4-BE49-F238E27FC236}">
                <a16:creationId xmlns:a16="http://schemas.microsoft.com/office/drawing/2014/main" id="{065739BB-D8F0-46ED-8836-F28E2BDA3FA0}"/>
              </a:ext>
            </a:extLst>
          </p:cNvPr>
          <p:cNvCxnSpPr>
            <a:cxnSpLocks/>
            <a:stCxn id="193" idx="1"/>
            <a:endCxn id="215" idx="3"/>
          </p:cNvCxnSpPr>
          <p:nvPr/>
        </p:nvCxnSpPr>
        <p:spPr>
          <a:xfrm rot="10800000">
            <a:off x="7701669" y="2341405"/>
            <a:ext cx="1783467" cy="541895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Connector: Elbow 221">
            <a:extLst>
              <a:ext uri="{FF2B5EF4-FFF2-40B4-BE49-F238E27FC236}">
                <a16:creationId xmlns:a16="http://schemas.microsoft.com/office/drawing/2014/main" id="{272FA70A-155A-43E5-B646-543B7A9DCA1E}"/>
              </a:ext>
            </a:extLst>
          </p:cNvPr>
          <p:cNvCxnSpPr>
            <a:cxnSpLocks/>
            <a:stCxn id="194" idx="1"/>
            <a:endCxn id="216" idx="3"/>
          </p:cNvCxnSpPr>
          <p:nvPr/>
        </p:nvCxnSpPr>
        <p:spPr>
          <a:xfrm rot="10800000" flipV="1">
            <a:off x="7703403" y="2090218"/>
            <a:ext cx="1781732" cy="125402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5" name="Connector: Elbow 224">
            <a:extLst>
              <a:ext uri="{FF2B5EF4-FFF2-40B4-BE49-F238E27FC236}">
                <a16:creationId xmlns:a16="http://schemas.microsoft.com/office/drawing/2014/main" id="{9E50825A-1C4F-421F-9FA7-81EB158FB756}"/>
              </a:ext>
            </a:extLst>
          </p:cNvPr>
          <p:cNvCxnSpPr>
            <a:cxnSpLocks/>
            <a:stCxn id="173" idx="2"/>
          </p:cNvCxnSpPr>
          <p:nvPr/>
        </p:nvCxnSpPr>
        <p:spPr>
          <a:xfrm rot="5400000">
            <a:off x="9990792" y="1887820"/>
            <a:ext cx="130220" cy="260122"/>
          </a:xfrm>
          <a:prstGeom prst="bentConnector2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8" name="Connector: Elbow 227">
            <a:extLst>
              <a:ext uri="{FF2B5EF4-FFF2-40B4-BE49-F238E27FC236}">
                <a16:creationId xmlns:a16="http://schemas.microsoft.com/office/drawing/2014/main" id="{52770EFB-67AA-46E3-B573-758C5D92F5F2}"/>
              </a:ext>
            </a:extLst>
          </p:cNvPr>
          <p:cNvCxnSpPr>
            <a:cxnSpLocks/>
            <a:stCxn id="178" idx="2"/>
            <a:endCxn id="193" idx="3"/>
          </p:cNvCxnSpPr>
          <p:nvPr/>
        </p:nvCxnSpPr>
        <p:spPr>
          <a:xfrm rot="5400000">
            <a:off x="9983498" y="2680834"/>
            <a:ext cx="136102" cy="268828"/>
          </a:xfrm>
          <a:prstGeom prst="bentConnector2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1" name="Connector: Elbow 230">
            <a:extLst>
              <a:ext uri="{FF2B5EF4-FFF2-40B4-BE49-F238E27FC236}">
                <a16:creationId xmlns:a16="http://schemas.microsoft.com/office/drawing/2014/main" id="{20A215DA-71AF-4F17-AADB-8DBEE2A81BF2}"/>
              </a:ext>
            </a:extLst>
          </p:cNvPr>
          <p:cNvCxnSpPr>
            <a:cxnSpLocks/>
            <a:stCxn id="182" idx="2"/>
            <a:endCxn id="189" idx="3"/>
          </p:cNvCxnSpPr>
          <p:nvPr/>
        </p:nvCxnSpPr>
        <p:spPr>
          <a:xfrm rot="5400000">
            <a:off x="9961853" y="3498570"/>
            <a:ext cx="179393" cy="268828"/>
          </a:xfrm>
          <a:prstGeom prst="bentConnector2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4" name="Connector: Elbow 233">
            <a:extLst>
              <a:ext uri="{FF2B5EF4-FFF2-40B4-BE49-F238E27FC236}">
                <a16:creationId xmlns:a16="http://schemas.microsoft.com/office/drawing/2014/main" id="{02BB35B2-A03F-4181-8C16-D4CE67A97DA3}"/>
              </a:ext>
            </a:extLst>
          </p:cNvPr>
          <p:cNvCxnSpPr>
            <a:cxnSpLocks/>
            <a:stCxn id="184" idx="3"/>
            <a:endCxn id="245" idx="1"/>
          </p:cNvCxnSpPr>
          <p:nvPr/>
        </p:nvCxnSpPr>
        <p:spPr>
          <a:xfrm>
            <a:off x="10380913" y="3489282"/>
            <a:ext cx="697319" cy="12700"/>
          </a:xfrm>
          <a:prstGeom prst="bentConnector3">
            <a:avLst>
              <a:gd name="adj1" fmla="val 50000"/>
            </a:avLst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7" name="TextBox 236">
            <a:extLst>
              <a:ext uri="{FF2B5EF4-FFF2-40B4-BE49-F238E27FC236}">
                <a16:creationId xmlns:a16="http://schemas.microsoft.com/office/drawing/2014/main" id="{E92128A6-A3B5-48FA-B377-90DC23B6B37B}"/>
              </a:ext>
            </a:extLst>
          </p:cNvPr>
          <p:cNvSpPr txBox="1"/>
          <p:nvPr/>
        </p:nvSpPr>
        <p:spPr>
          <a:xfrm>
            <a:off x="11146367" y="1752426"/>
            <a:ext cx="432000" cy="18466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/>
              <a:t>LED</a:t>
            </a:r>
            <a:endParaRPr lang="en-DE" sz="1200" dirty="0" err="1"/>
          </a:p>
        </p:txBody>
      </p:sp>
      <p:sp>
        <p:nvSpPr>
          <p:cNvPr id="238" name="Rectangle 237">
            <a:extLst>
              <a:ext uri="{FF2B5EF4-FFF2-40B4-BE49-F238E27FC236}">
                <a16:creationId xmlns:a16="http://schemas.microsoft.com/office/drawing/2014/main" id="{35ED4CA6-93B2-448C-9908-F654DE0667A2}"/>
              </a:ext>
            </a:extLst>
          </p:cNvPr>
          <p:cNvSpPr/>
          <p:nvPr/>
        </p:nvSpPr>
        <p:spPr>
          <a:xfrm>
            <a:off x="11078232" y="1736747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39" name="Rectangle 238">
            <a:extLst>
              <a:ext uri="{FF2B5EF4-FFF2-40B4-BE49-F238E27FC236}">
                <a16:creationId xmlns:a16="http://schemas.microsoft.com/office/drawing/2014/main" id="{75E73609-D363-4E0C-8EB2-8DD421B51BEE}"/>
              </a:ext>
            </a:extLst>
          </p:cNvPr>
          <p:cNvSpPr/>
          <p:nvPr/>
        </p:nvSpPr>
        <p:spPr>
          <a:xfrm>
            <a:off x="11078232" y="1842913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40" name="TextBox 239">
            <a:extLst>
              <a:ext uri="{FF2B5EF4-FFF2-40B4-BE49-F238E27FC236}">
                <a16:creationId xmlns:a16="http://schemas.microsoft.com/office/drawing/2014/main" id="{DF289541-D62C-4244-A272-D2DB0E9D6B60}"/>
              </a:ext>
            </a:extLst>
          </p:cNvPr>
          <p:cNvSpPr txBox="1"/>
          <p:nvPr/>
        </p:nvSpPr>
        <p:spPr>
          <a:xfrm>
            <a:off x="11146367" y="2545455"/>
            <a:ext cx="432000" cy="18466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/>
              <a:t>LED</a:t>
            </a:r>
            <a:endParaRPr lang="en-DE" sz="1200" dirty="0" err="1"/>
          </a:p>
        </p:txBody>
      </p:sp>
      <p:sp>
        <p:nvSpPr>
          <p:cNvPr id="241" name="Rectangle 240">
            <a:extLst>
              <a:ext uri="{FF2B5EF4-FFF2-40B4-BE49-F238E27FC236}">
                <a16:creationId xmlns:a16="http://schemas.microsoft.com/office/drawing/2014/main" id="{CE95B0D7-6D72-4230-B415-394FE0EEB98D}"/>
              </a:ext>
            </a:extLst>
          </p:cNvPr>
          <p:cNvSpPr/>
          <p:nvPr/>
        </p:nvSpPr>
        <p:spPr>
          <a:xfrm>
            <a:off x="11078232" y="2529776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42" name="Rectangle 241">
            <a:extLst>
              <a:ext uri="{FF2B5EF4-FFF2-40B4-BE49-F238E27FC236}">
                <a16:creationId xmlns:a16="http://schemas.microsoft.com/office/drawing/2014/main" id="{0E676C0A-5906-4122-B4C1-B3FE0C1BBE20}"/>
              </a:ext>
            </a:extLst>
          </p:cNvPr>
          <p:cNvSpPr/>
          <p:nvPr/>
        </p:nvSpPr>
        <p:spPr>
          <a:xfrm>
            <a:off x="11078232" y="2635942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43" name="TextBox 242">
            <a:extLst>
              <a:ext uri="{FF2B5EF4-FFF2-40B4-BE49-F238E27FC236}">
                <a16:creationId xmlns:a16="http://schemas.microsoft.com/office/drawing/2014/main" id="{3784D2D3-8D25-4076-B67C-8D91AE54B7D7}"/>
              </a:ext>
            </a:extLst>
          </p:cNvPr>
          <p:cNvSpPr txBox="1"/>
          <p:nvPr/>
        </p:nvSpPr>
        <p:spPr>
          <a:xfrm>
            <a:off x="11146367" y="3344789"/>
            <a:ext cx="432000" cy="18466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dirty="0"/>
              <a:t>LED</a:t>
            </a:r>
            <a:endParaRPr lang="en-DE" sz="1200" dirty="0" err="1"/>
          </a:p>
        </p:txBody>
      </p:sp>
      <p:sp>
        <p:nvSpPr>
          <p:cNvPr id="244" name="Rectangle 243">
            <a:extLst>
              <a:ext uri="{FF2B5EF4-FFF2-40B4-BE49-F238E27FC236}">
                <a16:creationId xmlns:a16="http://schemas.microsoft.com/office/drawing/2014/main" id="{878A63CC-83CA-479E-8C30-9DCA5340C3FF}"/>
              </a:ext>
            </a:extLst>
          </p:cNvPr>
          <p:cNvSpPr/>
          <p:nvPr/>
        </p:nvSpPr>
        <p:spPr>
          <a:xfrm>
            <a:off x="11078232" y="3329110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45" name="Rectangle 244">
            <a:extLst>
              <a:ext uri="{FF2B5EF4-FFF2-40B4-BE49-F238E27FC236}">
                <a16:creationId xmlns:a16="http://schemas.microsoft.com/office/drawing/2014/main" id="{02525697-A37D-4AB6-9E6B-9B4E42FC4A7A}"/>
              </a:ext>
            </a:extLst>
          </p:cNvPr>
          <p:cNvSpPr/>
          <p:nvPr/>
        </p:nvSpPr>
        <p:spPr>
          <a:xfrm>
            <a:off x="11078232" y="3435276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248" name="Connector: Elbow 247">
            <a:extLst>
              <a:ext uri="{FF2B5EF4-FFF2-40B4-BE49-F238E27FC236}">
                <a16:creationId xmlns:a16="http://schemas.microsoft.com/office/drawing/2014/main" id="{595AF130-FEB7-48BF-85C5-A8A4AE1F2849}"/>
              </a:ext>
            </a:extLst>
          </p:cNvPr>
          <p:cNvCxnSpPr>
            <a:cxnSpLocks/>
            <a:stCxn id="180" idx="3"/>
            <a:endCxn id="242" idx="1"/>
          </p:cNvCxnSpPr>
          <p:nvPr/>
        </p:nvCxnSpPr>
        <p:spPr>
          <a:xfrm flipV="1">
            <a:off x="10380913" y="2689948"/>
            <a:ext cx="697319" cy="3243"/>
          </a:xfrm>
          <a:prstGeom prst="bentConnector3">
            <a:avLst>
              <a:gd name="adj1" fmla="val 50000"/>
            </a:avLst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1" name="Connector: Elbow 250">
            <a:extLst>
              <a:ext uri="{FF2B5EF4-FFF2-40B4-BE49-F238E27FC236}">
                <a16:creationId xmlns:a16="http://schemas.microsoft.com/office/drawing/2014/main" id="{28A24D62-1739-4553-B403-938681720EDB}"/>
              </a:ext>
            </a:extLst>
          </p:cNvPr>
          <p:cNvCxnSpPr>
            <a:cxnSpLocks/>
            <a:stCxn id="176" idx="3"/>
            <a:endCxn id="239" idx="1"/>
          </p:cNvCxnSpPr>
          <p:nvPr/>
        </p:nvCxnSpPr>
        <p:spPr>
          <a:xfrm flipV="1">
            <a:off x="10380913" y="1896919"/>
            <a:ext cx="697319" cy="1846"/>
          </a:xfrm>
          <a:prstGeom prst="bentConnector3">
            <a:avLst>
              <a:gd name="adj1" fmla="val 50000"/>
            </a:avLst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4" name="Connector: Elbow 253">
            <a:extLst>
              <a:ext uri="{FF2B5EF4-FFF2-40B4-BE49-F238E27FC236}">
                <a16:creationId xmlns:a16="http://schemas.microsoft.com/office/drawing/2014/main" id="{0CC88691-1179-47BE-BF33-1CA1EBC2407F}"/>
              </a:ext>
            </a:extLst>
          </p:cNvPr>
          <p:cNvCxnSpPr>
            <a:cxnSpLocks/>
            <a:stCxn id="187" idx="2"/>
            <a:endCxn id="238" idx="1"/>
          </p:cNvCxnSpPr>
          <p:nvPr/>
        </p:nvCxnSpPr>
        <p:spPr>
          <a:xfrm>
            <a:off x="8147717" y="460955"/>
            <a:ext cx="2930515" cy="1329798"/>
          </a:xfrm>
          <a:prstGeom prst="bentConnector3">
            <a:avLst>
              <a:gd name="adj1" fmla="val 86114"/>
            </a:avLst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0" name="Connector: Elbow 259">
            <a:extLst>
              <a:ext uri="{FF2B5EF4-FFF2-40B4-BE49-F238E27FC236}">
                <a16:creationId xmlns:a16="http://schemas.microsoft.com/office/drawing/2014/main" id="{A6F8306A-81C0-4582-A441-EB0492B494CC}"/>
              </a:ext>
            </a:extLst>
          </p:cNvPr>
          <p:cNvCxnSpPr>
            <a:cxnSpLocks/>
            <a:stCxn id="238" idx="1"/>
            <a:endCxn id="241" idx="1"/>
          </p:cNvCxnSpPr>
          <p:nvPr/>
        </p:nvCxnSpPr>
        <p:spPr>
          <a:xfrm rot="10800000" flipV="1">
            <a:off x="11078232" y="1790752"/>
            <a:ext cx="12700" cy="793029"/>
          </a:xfrm>
          <a:prstGeom prst="bentConnector3">
            <a:avLst>
              <a:gd name="adj1" fmla="val 3300000"/>
            </a:avLst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4" name="Connector: Elbow 263">
            <a:extLst>
              <a:ext uri="{FF2B5EF4-FFF2-40B4-BE49-F238E27FC236}">
                <a16:creationId xmlns:a16="http://schemas.microsoft.com/office/drawing/2014/main" id="{BD6A7FB5-CF4F-4BE6-8F4C-D00008F99E48}"/>
              </a:ext>
            </a:extLst>
          </p:cNvPr>
          <p:cNvCxnSpPr>
            <a:cxnSpLocks/>
            <a:stCxn id="241" idx="1"/>
            <a:endCxn id="244" idx="1"/>
          </p:cNvCxnSpPr>
          <p:nvPr/>
        </p:nvCxnSpPr>
        <p:spPr>
          <a:xfrm rot="10800000" flipV="1">
            <a:off x="11078232" y="2583782"/>
            <a:ext cx="12700" cy="799334"/>
          </a:xfrm>
          <a:prstGeom prst="bentConnector3">
            <a:avLst>
              <a:gd name="adj1" fmla="val 3300000"/>
            </a:avLst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8" name="Oval 267">
            <a:extLst>
              <a:ext uri="{FF2B5EF4-FFF2-40B4-BE49-F238E27FC236}">
                <a16:creationId xmlns:a16="http://schemas.microsoft.com/office/drawing/2014/main" id="{FC16A6AF-4A55-4B98-8632-869849A15328}"/>
              </a:ext>
            </a:extLst>
          </p:cNvPr>
          <p:cNvSpPr/>
          <p:nvPr/>
        </p:nvSpPr>
        <p:spPr>
          <a:xfrm>
            <a:off x="10642464" y="2549615"/>
            <a:ext cx="72000" cy="72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69" name="Oval 268">
            <a:extLst>
              <a:ext uri="{FF2B5EF4-FFF2-40B4-BE49-F238E27FC236}">
                <a16:creationId xmlns:a16="http://schemas.microsoft.com/office/drawing/2014/main" id="{0FA2F511-7EA3-44E5-8AF4-04415AA38110}"/>
              </a:ext>
            </a:extLst>
          </p:cNvPr>
          <p:cNvSpPr/>
          <p:nvPr/>
        </p:nvSpPr>
        <p:spPr>
          <a:xfrm>
            <a:off x="10637021" y="1752925"/>
            <a:ext cx="72000" cy="72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270" name="Connector: Elbow 269">
            <a:extLst>
              <a:ext uri="{FF2B5EF4-FFF2-40B4-BE49-F238E27FC236}">
                <a16:creationId xmlns:a16="http://schemas.microsoft.com/office/drawing/2014/main" id="{7B7923E8-3D5D-44D3-92AA-CA6FB9D0302A}"/>
              </a:ext>
            </a:extLst>
          </p:cNvPr>
          <p:cNvCxnSpPr>
            <a:cxnSpLocks/>
            <a:stCxn id="134" idx="0"/>
            <a:endCxn id="185" idx="2"/>
          </p:cNvCxnSpPr>
          <p:nvPr/>
        </p:nvCxnSpPr>
        <p:spPr>
          <a:xfrm rot="5400000" flipH="1" flipV="1">
            <a:off x="6905919" y="1800916"/>
            <a:ext cx="2296504" cy="187092"/>
          </a:xfrm>
          <a:prstGeom prst="bentConnector4">
            <a:avLst>
              <a:gd name="adj1" fmla="val 48824"/>
              <a:gd name="adj2" fmla="val 222186"/>
            </a:avLst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3" name="Oval 272">
            <a:extLst>
              <a:ext uri="{FF2B5EF4-FFF2-40B4-BE49-F238E27FC236}">
                <a16:creationId xmlns:a16="http://schemas.microsoft.com/office/drawing/2014/main" id="{F2CB7FAE-A37A-4071-9532-1CD737C0FFF6}"/>
              </a:ext>
            </a:extLst>
          </p:cNvPr>
          <p:cNvSpPr/>
          <p:nvPr/>
        </p:nvSpPr>
        <p:spPr>
          <a:xfrm>
            <a:off x="7924625" y="2785093"/>
            <a:ext cx="72000" cy="72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274" name="Connector: Elbow 273">
            <a:extLst>
              <a:ext uri="{FF2B5EF4-FFF2-40B4-BE49-F238E27FC236}">
                <a16:creationId xmlns:a16="http://schemas.microsoft.com/office/drawing/2014/main" id="{3E8063B0-22F9-4FB6-B2B7-A97678CBBC92}"/>
              </a:ext>
            </a:extLst>
          </p:cNvPr>
          <p:cNvCxnSpPr>
            <a:cxnSpLocks/>
            <a:stCxn id="195" idx="0"/>
            <a:endCxn id="188" idx="2"/>
          </p:cNvCxnSpPr>
          <p:nvPr/>
        </p:nvCxnSpPr>
        <p:spPr>
          <a:xfrm rot="5400000" flipH="1" flipV="1">
            <a:off x="7084637" y="1595042"/>
            <a:ext cx="2056223" cy="69938"/>
          </a:xfrm>
          <a:prstGeom prst="bentConnector4">
            <a:avLst>
              <a:gd name="adj1" fmla="val 29334"/>
              <a:gd name="adj2" fmla="val 614503"/>
            </a:avLst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0" name="Connector: Elbow 279">
            <a:extLst>
              <a:ext uri="{FF2B5EF4-FFF2-40B4-BE49-F238E27FC236}">
                <a16:creationId xmlns:a16="http://schemas.microsoft.com/office/drawing/2014/main" id="{451A5545-BEA0-4FAA-9393-DFACB33248EB}"/>
              </a:ext>
            </a:extLst>
          </p:cNvPr>
          <p:cNvCxnSpPr>
            <a:cxnSpLocks/>
            <a:stCxn id="190" idx="1"/>
            <a:endCxn id="186" idx="2"/>
          </p:cNvCxnSpPr>
          <p:nvPr/>
        </p:nvCxnSpPr>
        <p:spPr>
          <a:xfrm rot="10800000" flipH="1">
            <a:off x="7879595" y="884917"/>
            <a:ext cx="268122" cy="357739"/>
          </a:xfrm>
          <a:prstGeom prst="bentConnector5">
            <a:avLst>
              <a:gd name="adj1" fmla="val -85260"/>
              <a:gd name="adj2" fmla="val 55357"/>
              <a:gd name="adj3" fmla="val 150524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4" name="Connector: Elbow 283">
            <a:extLst>
              <a:ext uri="{FF2B5EF4-FFF2-40B4-BE49-F238E27FC236}">
                <a16:creationId xmlns:a16="http://schemas.microsoft.com/office/drawing/2014/main" id="{1D4C60F0-EB94-424A-9F40-292588BCE280}"/>
              </a:ext>
            </a:extLst>
          </p:cNvPr>
          <p:cNvCxnSpPr>
            <a:cxnSpLocks/>
            <a:stCxn id="190" idx="3"/>
          </p:cNvCxnSpPr>
          <p:nvPr/>
        </p:nvCxnSpPr>
        <p:spPr>
          <a:xfrm flipV="1">
            <a:off x="8311595" y="1239266"/>
            <a:ext cx="76199" cy="3389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7" name="Oval 286">
            <a:extLst>
              <a:ext uri="{FF2B5EF4-FFF2-40B4-BE49-F238E27FC236}">
                <a16:creationId xmlns:a16="http://schemas.microsoft.com/office/drawing/2014/main" id="{6A24DD39-9F89-43FD-A4C6-6A00CAF5E3B6}"/>
              </a:ext>
            </a:extLst>
          </p:cNvPr>
          <p:cNvSpPr/>
          <p:nvPr/>
        </p:nvSpPr>
        <p:spPr>
          <a:xfrm>
            <a:off x="8339825" y="1205718"/>
            <a:ext cx="72000" cy="72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pic>
        <p:nvPicPr>
          <p:cNvPr id="2" name="Picture 2" descr="ESP8266 Pinout Reference: Which GPIO pins should you use? | Random Nerd  Tutorials">
            <a:extLst>
              <a:ext uri="{FF2B5EF4-FFF2-40B4-BE49-F238E27FC236}">
                <a16:creationId xmlns:a16="http://schemas.microsoft.com/office/drawing/2014/main" id="{1B4A8591-F03D-4C9D-A634-46C5318F8B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933" y="-1000403"/>
            <a:ext cx="4406267" cy="22308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55BDE5B3-5782-43F5-8AF3-E981DE193307}"/>
              </a:ext>
            </a:extLst>
          </p:cNvPr>
          <p:cNvCxnSpPr/>
          <p:nvPr/>
        </p:nvCxnSpPr>
        <p:spPr>
          <a:xfrm flipV="1">
            <a:off x="8173809" y="5924105"/>
            <a:ext cx="137786" cy="608359"/>
          </a:xfrm>
          <a:prstGeom prst="line">
            <a:avLst/>
          </a:prstGeom>
          <a:ln w="28575"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Straight Connector 160">
            <a:extLst>
              <a:ext uri="{FF2B5EF4-FFF2-40B4-BE49-F238E27FC236}">
                <a16:creationId xmlns:a16="http://schemas.microsoft.com/office/drawing/2014/main" id="{AD211D3B-2D2E-4980-84BF-C0824DECE32C}"/>
              </a:ext>
            </a:extLst>
          </p:cNvPr>
          <p:cNvCxnSpPr>
            <a:cxnSpLocks/>
          </p:cNvCxnSpPr>
          <p:nvPr/>
        </p:nvCxnSpPr>
        <p:spPr>
          <a:xfrm flipH="1" flipV="1">
            <a:off x="8238128" y="1741777"/>
            <a:ext cx="8360" cy="1100921"/>
          </a:xfrm>
          <a:prstGeom prst="line">
            <a:avLst/>
          </a:prstGeom>
          <a:ln w="28575"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Straight Connector 165">
            <a:extLst>
              <a:ext uri="{FF2B5EF4-FFF2-40B4-BE49-F238E27FC236}">
                <a16:creationId xmlns:a16="http://schemas.microsoft.com/office/drawing/2014/main" id="{1DE61FA6-AD14-4647-97A3-F1453C28A723}"/>
              </a:ext>
            </a:extLst>
          </p:cNvPr>
          <p:cNvCxnSpPr>
            <a:cxnSpLocks/>
          </p:cNvCxnSpPr>
          <p:nvPr/>
        </p:nvCxnSpPr>
        <p:spPr>
          <a:xfrm flipV="1">
            <a:off x="4963895" y="2899236"/>
            <a:ext cx="4153" cy="760704"/>
          </a:xfrm>
          <a:prstGeom prst="line">
            <a:avLst/>
          </a:prstGeom>
          <a:ln w="28575"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07552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81916E-4FAF-4DEB-826E-4CB7F9FF7A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3D Druck</a:t>
            </a:r>
            <a:endParaRPr lang="en-DE" dirty="0"/>
          </a:p>
        </p:txBody>
      </p:sp>
      <p:pic>
        <p:nvPicPr>
          <p:cNvPr id="5" name="Picture 4" descr="Diagram, engineering drawing&#10;&#10;Description automatically generated">
            <a:extLst>
              <a:ext uri="{FF2B5EF4-FFF2-40B4-BE49-F238E27FC236}">
                <a16:creationId xmlns:a16="http://schemas.microsoft.com/office/drawing/2014/main" id="{710ABD18-748F-4C5B-88AC-F841F3ECAB0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6375" y="943556"/>
            <a:ext cx="8999250" cy="5431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90497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16BD53-52D3-BA46-9EE7-CD3FD8E13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3C2F6F5-2925-C320-5DB3-02889A6E977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13318" name="Picture 6" descr="HiLetgo ESP-WROOM-32">
            <a:extLst>
              <a:ext uri="{FF2B5EF4-FFF2-40B4-BE49-F238E27FC236}">
                <a16:creationId xmlns:a16="http://schemas.microsoft.com/office/drawing/2014/main" id="{C3BA8751-B17C-97A4-F09F-D2BC26B313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6375" y="571500"/>
            <a:ext cx="9239250" cy="571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118429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E1535A-AA57-99A9-05DF-A7DF82E449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AutoShape 2" descr="Dfplayer Mini - Microsd Mp3 Musik Player Audio Voice Modul">
            <a:extLst>
              <a:ext uri="{FF2B5EF4-FFF2-40B4-BE49-F238E27FC236}">
                <a16:creationId xmlns:a16="http://schemas.microsoft.com/office/drawing/2014/main" id="{D83DBDCB-5280-22DF-0F02-AE78E31795AE}"/>
              </a:ext>
            </a:extLst>
          </p:cNvPr>
          <p:cNvSpPr>
            <a:spLocks noGrp="1" noChangeAspect="1" noChangeArrowheads="1"/>
          </p:cNvSpPr>
          <p:nvPr>
            <p:ph type="body" sz="quarter" idx="13"/>
          </p:nvPr>
        </p:nvSpPr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pic>
        <p:nvPicPr>
          <p:cNvPr id="14340" name="Picture 4" descr="DFPlayer Mini Mp3 Player - DFRobot Wiki">
            <a:extLst>
              <a:ext uri="{FF2B5EF4-FFF2-40B4-BE49-F238E27FC236}">
                <a16:creationId xmlns:a16="http://schemas.microsoft.com/office/drawing/2014/main" id="{C2194B05-38A9-5FA5-7D21-D94936462D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3238" y="1624013"/>
            <a:ext cx="6105525" cy="3609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00576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C0D2FE-8938-68E8-1A48-105E6E999C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56020C9-530D-78E4-B534-DDFD89F41431}"/>
              </a:ext>
            </a:extLst>
          </p:cNvPr>
          <p:cNvSpPr/>
          <p:nvPr/>
        </p:nvSpPr>
        <p:spPr>
          <a:xfrm>
            <a:off x="5936776" y="3581400"/>
            <a:ext cx="2520000" cy="108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Small </a:t>
            </a:r>
            <a:r>
              <a:rPr lang="de-DE" sz="1400" dirty="0" err="1">
                <a:solidFill>
                  <a:schemeClr val="tx1"/>
                </a:solidFill>
              </a:rPr>
              <a:t>Carriage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6D4A3D5-7DF1-076C-023A-5D271E3FDFC3}"/>
              </a:ext>
            </a:extLst>
          </p:cNvPr>
          <p:cNvSpPr/>
          <p:nvPr/>
        </p:nvSpPr>
        <p:spPr>
          <a:xfrm>
            <a:off x="8695898" y="3581400"/>
            <a:ext cx="2520000" cy="108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 err="1">
                <a:solidFill>
                  <a:schemeClr val="tx1"/>
                </a:solidFill>
              </a:rPr>
              <a:t>Locomotive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C98195A-9490-0083-989A-336720EDAB42}"/>
              </a:ext>
            </a:extLst>
          </p:cNvPr>
          <p:cNvSpPr/>
          <p:nvPr/>
        </p:nvSpPr>
        <p:spPr>
          <a:xfrm>
            <a:off x="3177654" y="3581400"/>
            <a:ext cx="2520000" cy="108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Christmas </a:t>
            </a:r>
            <a:r>
              <a:rPr lang="de-DE" sz="1400" dirty="0" err="1">
                <a:solidFill>
                  <a:schemeClr val="tx1"/>
                </a:solidFill>
              </a:rPr>
              <a:t>Carriage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9047D76-DF4B-121A-CA47-F2083F64AFCF}"/>
              </a:ext>
            </a:extLst>
          </p:cNvPr>
          <p:cNvSpPr/>
          <p:nvPr/>
        </p:nvSpPr>
        <p:spPr>
          <a:xfrm>
            <a:off x="8695898" y="4817660"/>
            <a:ext cx="1116842" cy="36848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/>
              <a:t>Motor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0026AB8-4BE3-B296-51AF-C797B417ABFA}"/>
              </a:ext>
            </a:extLst>
          </p:cNvPr>
          <p:cNvSpPr/>
          <p:nvPr/>
        </p:nvSpPr>
        <p:spPr>
          <a:xfrm>
            <a:off x="6638355" y="3998793"/>
            <a:ext cx="1116842" cy="52088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/>
              <a:t>Controll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5225E0A-C27E-1F27-B0B5-7804A1D66727}"/>
              </a:ext>
            </a:extLst>
          </p:cNvPr>
          <p:cNvSpPr/>
          <p:nvPr/>
        </p:nvSpPr>
        <p:spPr>
          <a:xfrm>
            <a:off x="1239672" y="4118289"/>
            <a:ext cx="1116842" cy="52088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/>
              <a:t>Powerbank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83D738E-6EEF-A8D0-A5DB-2D1EA4FB1E61}"/>
              </a:ext>
            </a:extLst>
          </p:cNvPr>
          <p:cNvSpPr/>
          <p:nvPr/>
        </p:nvSpPr>
        <p:spPr>
          <a:xfrm>
            <a:off x="10338178" y="3317844"/>
            <a:ext cx="1116842" cy="52088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/>
              <a:t>LED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33F3BB4-A985-93EE-F850-90CEBCBD37FB}"/>
              </a:ext>
            </a:extLst>
          </p:cNvPr>
          <p:cNvSpPr/>
          <p:nvPr/>
        </p:nvSpPr>
        <p:spPr>
          <a:xfrm>
            <a:off x="10338178" y="3998793"/>
            <a:ext cx="1116842" cy="52088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 err="1"/>
              <a:t>Distance</a:t>
            </a:r>
            <a:r>
              <a:rPr lang="de-DE" sz="1400" dirty="0"/>
              <a:t> Sensor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489C34F-8234-2730-85B9-B369ADD901B0}"/>
              </a:ext>
            </a:extLst>
          </p:cNvPr>
          <p:cNvSpPr/>
          <p:nvPr/>
        </p:nvSpPr>
        <p:spPr>
          <a:xfrm>
            <a:off x="7898355" y="1321167"/>
            <a:ext cx="1116842" cy="52088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2x I2C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5FC1810-B819-C43C-27AD-02046030CF0A}"/>
              </a:ext>
            </a:extLst>
          </p:cNvPr>
          <p:cNvSpPr/>
          <p:nvPr/>
        </p:nvSpPr>
        <p:spPr>
          <a:xfrm>
            <a:off x="7898355" y="1944180"/>
            <a:ext cx="1116842" cy="52088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M1, M2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67747A6-FA72-536B-C4EB-62C956B4D9FD}"/>
              </a:ext>
            </a:extLst>
          </p:cNvPr>
          <p:cNvSpPr/>
          <p:nvPr/>
        </p:nvSpPr>
        <p:spPr>
          <a:xfrm>
            <a:off x="7898355" y="2543393"/>
            <a:ext cx="1116842" cy="52088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1x LED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474532E-4942-F74C-4D7A-D7B927D14F66}"/>
              </a:ext>
            </a:extLst>
          </p:cNvPr>
          <p:cNvSpPr/>
          <p:nvPr/>
        </p:nvSpPr>
        <p:spPr>
          <a:xfrm>
            <a:off x="6638355" y="4603661"/>
            <a:ext cx="1116842" cy="52088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/>
              <a:t>Scanner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BE7C254-7A55-CBBB-A6F7-B802D2763D02}"/>
              </a:ext>
            </a:extLst>
          </p:cNvPr>
          <p:cNvSpPr/>
          <p:nvPr/>
        </p:nvSpPr>
        <p:spPr>
          <a:xfrm>
            <a:off x="7898355" y="3216361"/>
            <a:ext cx="1116842" cy="52088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3,3 V 5 V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A386728-5A44-5D8F-AE60-4B6FBB516C8A}"/>
              </a:ext>
            </a:extLst>
          </p:cNvPr>
          <p:cNvSpPr/>
          <p:nvPr/>
        </p:nvSpPr>
        <p:spPr>
          <a:xfrm>
            <a:off x="7898355" y="719613"/>
            <a:ext cx="1116842" cy="52088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1x GND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B0D6BBC-B7CE-B30B-01B5-576139FBF576}"/>
              </a:ext>
            </a:extLst>
          </p:cNvPr>
          <p:cNvSpPr/>
          <p:nvPr/>
        </p:nvSpPr>
        <p:spPr>
          <a:xfrm>
            <a:off x="5186531" y="2547461"/>
            <a:ext cx="1116842" cy="52088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3x LED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2972261-F9BF-F419-4009-B654AE181899}"/>
              </a:ext>
            </a:extLst>
          </p:cNvPr>
          <p:cNvSpPr/>
          <p:nvPr/>
        </p:nvSpPr>
        <p:spPr>
          <a:xfrm>
            <a:off x="5186531" y="1945145"/>
            <a:ext cx="1116842" cy="52088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1x </a:t>
            </a:r>
            <a:r>
              <a:rPr lang="de-DE" sz="1400" dirty="0" err="1">
                <a:solidFill>
                  <a:schemeClr val="tx1"/>
                </a:solidFill>
              </a:rPr>
              <a:t>Btn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EA17678-CB51-9C1A-ED3C-E4F7CAFE4289}"/>
              </a:ext>
            </a:extLst>
          </p:cNvPr>
          <p:cNvSpPr/>
          <p:nvPr/>
        </p:nvSpPr>
        <p:spPr>
          <a:xfrm>
            <a:off x="5178329" y="3216361"/>
            <a:ext cx="1116842" cy="52088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3,3 V 5 V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DD97EC0-F72C-DF11-78F6-E7C7A3692784}"/>
              </a:ext>
            </a:extLst>
          </p:cNvPr>
          <p:cNvSpPr/>
          <p:nvPr/>
        </p:nvSpPr>
        <p:spPr>
          <a:xfrm>
            <a:off x="6653565" y="3118250"/>
            <a:ext cx="1116842" cy="52088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/>
              <a:t>Sound Modul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F98102C2-7AF5-E4CD-2C77-A199B930DCD7}"/>
              </a:ext>
            </a:extLst>
          </p:cNvPr>
          <p:cNvSpPr/>
          <p:nvPr/>
        </p:nvSpPr>
        <p:spPr>
          <a:xfrm>
            <a:off x="529706" y="3578289"/>
            <a:ext cx="2520000" cy="108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Shots </a:t>
            </a:r>
            <a:r>
              <a:rPr lang="de-DE" sz="1400" dirty="0" err="1">
                <a:solidFill>
                  <a:schemeClr val="tx1"/>
                </a:solidFill>
              </a:rPr>
              <a:t>Carriage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0C76664-731A-957C-2A9F-A0E6BE1DFC8E}"/>
              </a:ext>
            </a:extLst>
          </p:cNvPr>
          <p:cNvSpPr/>
          <p:nvPr/>
        </p:nvSpPr>
        <p:spPr>
          <a:xfrm>
            <a:off x="1239672" y="2934629"/>
            <a:ext cx="1116842" cy="52088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/>
              <a:t>Cap Sensor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9C037AB-DCE8-6762-A8DF-8EFEA2E25395}"/>
              </a:ext>
            </a:extLst>
          </p:cNvPr>
          <p:cNvSpPr/>
          <p:nvPr/>
        </p:nvSpPr>
        <p:spPr>
          <a:xfrm>
            <a:off x="5186531" y="1293094"/>
            <a:ext cx="1116842" cy="52088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2x I2C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5441125-CA81-38CD-872E-CE7D572AF351}"/>
              </a:ext>
            </a:extLst>
          </p:cNvPr>
          <p:cNvSpPr/>
          <p:nvPr/>
        </p:nvSpPr>
        <p:spPr>
          <a:xfrm>
            <a:off x="5186531" y="719614"/>
            <a:ext cx="1116842" cy="52088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1x GND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C9FF17D-E997-B2CD-78F9-95BA61E1B54B}"/>
              </a:ext>
            </a:extLst>
          </p:cNvPr>
          <p:cNvSpPr/>
          <p:nvPr/>
        </p:nvSpPr>
        <p:spPr>
          <a:xfrm>
            <a:off x="2489050" y="3216361"/>
            <a:ext cx="1116842" cy="52088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3,3 V 5 V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63DA2BC-CBBE-4FAC-C08F-30780ED1EF3F}"/>
              </a:ext>
            </a:extLst>
          </p:cNvPr>
          <p:cNvSpPr/>
          <p:nvPr/>
        </p:nvSpPr>
        <p:spPr>
          <a:xfrm>
            <a:off x="2489050" y="719612"/>
            <a:ext cx="1116842" cy="52088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1x GND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608237C-671E-52D2-E23B-C26BED644CD1}"/>
              </a:ext>
            </a:extLst>
          </p:cNvPr>
          <p:cNvSpPr txBox="1"/>
          <p:nvPr/>
        </p:nvSpPr>
        <p:spPr>
          <a:xfrm>
            <a:off x="9217456" y="1372736"/>
            <a:ext cx="595284" cy="2185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400" dirty="0">
                <a:solidFill>
                  <a:schemeClr val="bg2"/>
                </a:solidFill>
              </a:rPr>
              <a:t>10 Pin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9D3B3F3-6BE6-DF89-3CEE-D33F3F0E8714}"/>
              </a:ext>
            </a:extLst>
          </p:cNvPr>
          <p:cNvSpPr/>
          <p:nvPr/>
        </p:nvSpPr>
        <p:spPr>
          <a:xfrm>
            <a:off x="2489050" y="1968207"/>
            <a:ext cx="1116842" cy="52088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1x </a:t>
            </a:r>
            <a:r>
              <a:rPr lang="de-DE" sz="1400" dirty="0" err="1">
                <a:solidFill>
                  <a:schemeClr val="tx1"/>
                </a:solidFill>
              </a:rPr>
              <a:t>Btn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7DD08C22-84C3-04C5-FD1E-A03B8CE106F5}"/>
              </a:ext>
            </a:extLst>
          </p:cNvPr>
          <p:cNvSpPr/>
          <p:nvPr/>
        </p:nvSpPr>
        <p:spPr>
          <a:xfrm>
            <a:off x="2489050" y="1316156"/>
            <a:ext cx="1116842" cy="52088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>
                <a:solidFill>
                  <a:schemeClr val="tx1"/>
                </a:solidFill>
              </a:rPr>
              <a:t>2x I2C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B67DF5E-0653-8CF8-DAE8-49162F2C6535}"/>
              </a:ext>
            </a:extLst>
          </p:cNvPr>
          <p:cNvSpPr/>
          <p:nvPr/>
        </p:nvSpPr>
        <p:spPr>
          <a:xfrm>
            <a:off x="9015197" y="3889329"/>
            <a:ext cx="1116842" cy="52088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/>
              <a:t>Motor Driver</a:t>
            </a:r>
          </a:p>
        </p:txBody>
      </p:sp>
    </p:spTree>
    <p:extLst>
      <p:ext uri="{BB962C8B-B14F-4D97-AF65-F5344CB8AC3E}">
        <p14:creationId xmlns:p14="http://schemas.microsoft.com/office/powerpoint/2010/main" val="3738479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D61A94-D0C4-95E0-BB23-C6C63F228E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026" name="Picture 2" descr="Interfacing DRV8833 Dual Motor Driver Module with Arduino">
            <a:extLst>
              <a:ext uri="{FF2B5EF4-FFF2-40B4-BE49-F238E27FC236}">
                <a16:creationId xmlns:a16="http://schemas.microsoft.com/office/drawing/2014/main" id="{1DB9825E-6EB4-32E4-C0E3-2B8119B5CD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2548" y="0"/>
            <a:ext cx="4488516" cy="24776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675B4025-FFA0-6EF2-744C-4ADBE9327B59}"/>
              </a:ext>
            </a:extLst>
          </p:cNvPr>
          <p:cNvCxnSpPr>
            <a:cxnSpLocks/>
            <a:stCxn id="31" idx="1"/>
            <a:endCxn id="10" idx="1"/>
          </p:cNvCxnSpPr>
          <p:nvPr/>
        </p:nvCxnSpPr>
        <p:spPr>
          <a:xfrm rot="10800000" flipV="1">
            <a:off x="6333564" y="1676942"/>
            <a:ext cx="911758" cy="1630660"/>
          </a:xfrm>
          <a:prstGeom prst="bentConnector3">
            <a:avLst>
              <a:gd name="adj1" fmla="val 177336"/>
            </a:avLst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85D11754-91B3-9D3C-7C17-2BAC60E20A8D}"/>
              </a:ext>
            </a:extLst>
          </p:cNvPr>
          <p:cNvSpPr/>
          <p:nvPr/>
        </p:nvSpPr>
        <p:spPr>
          <a:xfrm>
            <a:off x="6333565" y="661200"/>
            <a:ext cx="356347" cy="165794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400" dirty="0" err="1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DBC5DCA-8FA7-8462-4112-02463770DD85}"/>
              </a:ext>
            </a:extLst>
          </p:cNvPr>
          <p:cNvSpPr/>
          <p:nvPr/>
        </p:nvSpPr>
        <p:spPr>
          <a:xfrm>
            <a:off x="6333564" y="3224705"/>
            <a:ext cx="356347" cy="165794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40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5C24E91-089F-4A72-FEC3-C4FAB931FB05}"/>
              </a:ext>
            </a:extLst>
          </p:cNvPr>
          <p:cNvSpPr/>
          <p:nvPr/>
        </p:nvSpPr>
        <p:spPr>
          <a:xfrm>
            <a:off x="6333562" y="3428970"/>
            <a:ext cx="356347" cy="165794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400" dirty="0" err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B394106-2502-3359-CCEF-79736B3313BE}"/>
              </a:ext>
            </a:extLst>
          </p:cNvPr>
          <p:cNvSpPr/>
          <p:nvPr/>
        </p:nvSpPr>
        <p:spPr>
          <a:xfrm>
            <a:off x="6333562" y="3631006"/>
            <a:ext cx="356347" cy="165794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400" dirty="0" err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6EEF728-2103-4D65-344D-D82313BEFB4A}"/>
              </a:ext>
            </a:extLst>
          </p:cNvPr>
          <p:cNvSpPr/>
          <p:nvPr/>
        </p:nvSpPr>
        <p:spPr>
          <a:xfrm>
            <a:off x="6333561" y="6481261"/>
            <a:ext cx="356347" cy="165794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400" dirty="0" err="1"/>
          </a:p>
        </p:txBody>
      </p: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5CB4DB1D-0C14-40FD-10B0-FBA3FF6007E4}"/>
              </a:ext>
            </a:extLst>
          </p:cNvPr>
          <p:cNvCxnSpPr>
            <a:cxnSpLocks/>
            <a:stCxn id="26" idx="1"/>
            <a:endCxn id="11" idx="1"/>
          </p:cNvCxnSpPr>
          <p:nvPr/>
        </p:nvCxnSpPr>
        <p:spPr>
          <a:xfrm rot="10800000" flipV="1">
            <a:off x="6333563" y="1503341"/>
            <a:ext cx="910201" cy="2008526"/>
          </a:xfrm>
          <a:prstGeom prst="bentConnector3">
            <a:avLst>
              <a:gd name="adj1" fmla="val 146339"/>
            </a:avLst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F55655D7-3BD5-FC8B-F697-B5D72EDF39A1}"/>
              </a:ext>
            </a:extLst>
          </p:cNvPr>
          <p:cNvSpPr/>
          <p:nvPr/>
        </p:nvSpPr>
        <p:spPr>
          <a:xfrm>
            <a:off x="7243763" y="1420444"/>
            <a:ext cx="356347" cy="165794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400" dirty="0" err="1"/>
          </a:p>
        </p:txBody>
      </p: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4F28DA06-0747-86CC-EB5D-2BB72EBD29C9}"/>
              </a:ext>
            </a:extLst>
          </p:cNvPr>
          <p:cNvCxnSpPr>
            <a:cxnSpLocks/>
            <a:stCxn id="9" idx="1"/>
            <a:endCxn id="12" idx="1"/>
          </p:cNvCxnSpPr>
          <p:nvPr/>
        </p:nvCxnSpPr>
        <p:spPr>
          <a:xfrm rot="10800000" flipV="1">
            <a:off x="6333563" y="744097"/>
            <a:ext cx="3" cy="2969806"/>
          </a:xfrm>
          <a:prstGeom prst="bentConnector3">
            <a:avLst>
              <a:gd name="adj1" fmla="val 7620100000"/>
            </a:avLst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id="{024B0E6E-9A24-64FA-AD65-6DA3160E554D}"/>
              </a:ext>
            </a:extLst>
          </p:cNvPr>
          <p:cNvSpPr/>
          <p:nvPr/>
        </p:nvSpPr>
        <p:spPr>
          <a:xfrm>
            <a:off x="7245322" y="1594045"/>
            <a:ext cx="356347" cy="165794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400" dirty="0" err="1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72A2E89E-801C-B490-C9B7-84029D029029}"/>
              </a:ext>
            </a:extLst>
          </p:cNvPr>
          <p:cNvSpPr txBox="1"/>
          <p:nvPr/>
        </p:nvSpPr>
        <p:spPr>
          <a:xfrm>
            <a:off x="2804154" y="2630149"/>
            <a:ext cx="251567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indent="-180000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de-DE" sz="1400" b="1" dirty="0">
                <a:solidFill>
                  <a:srgbClr val="FF0000"/>
                </a:solidFill>
              </a:rPr>
              <a:t>34-29 </a:t>
            </a:r>
            <a:r>
              <a:rPr lang="de-DE" sz="1400" b="1" dirty="0" err="1">
                <a:solidFill>
                  <a:srgbClr val="FF0000"/>
                </a:solidFill>
              </a:rPr>
              <a:t>are</a:t>
            </a:r>
            <a:r>
              <a:rPr lang="de-DE" sz="1400" b="1" dirty="0">
                <a:solidFill>
                  <a:srgbClr val="FF0000"/>
                </a:solidFill>
              </a:rPr>
              <a:t> </a:t>
            </a:r>
            <a:r>
              <a:rPr lang="de-DE" sz="1400" b="1" dirty="0" err="1">
                <a:solidFill>
                  <a:srgbClr val="FF0000"/>
                </a:solidFill>
              </a:rPr>
              <a:t>input</a:t>
            </a:r>
            <a:r>
              <a:rPr lang="de-DE" sz="1400" b="1" dirty="0">
                <a:solidFill>
                  <a:srgbClr val="FF0000"/>
                </a:solidFill>
              </a:rPr>
              <a:t> </a:t>
            </a:r>
            <a:r>
              <a:rPr lang="de-DE" sz="1400" b="1" dirty="0" err="1">
                <a:solidFill>
                  <a:srgbClr val="FF0000"/>
                </a:solidFill>
              </a:rPr>
              <a:t>only</a:t>
            </a:r>
            <a:endParaRPr lang="de-DE" sz="1400" b="1" dirty="0">
              <a:solidFill>
                <a:srgbClr val="FF0000"/>
              </a:solidFill>
            </a:endParaRPr>
          </a:p>
        </p:txBody>
      </p:sp>
      <p:pic>
        <p:nvPicPr>
          <p:cNvPr id="4" name="Picture 6" descr="HiLetgo ESP-WROOM-32">
            <a:extLst>
              <a:ext uri="{FF2B5EF4-FFF2-40B4-BE49-F238E27FC236}">
                <a16:creationId xmlns:a16="http://schemas.microsoft.com/office/drawing/2014/main" id="{79467DB3-77F4-0810-0140-3D99B8AEA8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5059" y="1918597"/>
            <a:ext cx="8801704" cy="5444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327694EA-98CB-C5F1-F8AC-1BA737957912}"/>
              </a:ext>
            </a:extLst>
          </p:cNvPr>
          <p:cNvSpPr/>
          <p:nvPr/>
        </p:nvSpPr>
        <p:spPr>
          <a:xfrm>
            <a:off x="3709031" y="5821185"/>
            <a:ext cx="2243467" cy="58233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r>
              <a:rPr lang="de-DE" sz="1400" dirty="0"/>
              <a:t>v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4485FF2-E1CC-A1C1-2E5B-3E31A1B35A08}"/>
              </a:ext>
            </a:extLst>
          </p:cNvPr>
          <p:cNvSpPr/>
          <p:nvPr/>
        </p:nvSpPr>
        <p:spPr>
          <a:xfrm>
            <a:off x="3852533" y="5058298"/>
            <a:ext cx="2243467" cy="21544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r>
              <a:rPr lang="de-DE" sz="1400" dirty="0"/>
              <a:t>v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5B90BA0-737B-4253-B478-773C7D478852}"/>
              </a:ext>
            </a:extLst>
          </p:cNvPr>
          <p:cNvSpPr/>
          <p:nvPr/>
        </p:nvSpPr>
        <p:spPr>
          <a:xfrm>
            <a:off x="1818523" y="4584463"/>
            <a:ext cx="2243467" cy="48328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/>
              <a:t>PWM at </a:t>
            </a:r>
            <a:r>
              <a:rPr lang="de-DE" sz="1400" dirty="0" err="1"/>
              <a:t>boot</a:t>
            </a:r>
            <a:endParaRPr lang="de-DE" sz="1400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A961B30-9EE4-EB29-03F3-E0B3CCF8309F}"/>
              </a:ext>
            </a:extLst>
          </p:cNvPr>
          <p:cNvSpPr/>
          <p:nvPr/>
        </p:nvSpPr>
        <p:spPr>
          <a:xfrm>
            <a:off x="1818523" y="2756874"/>
            <a:ext cx="2243467" cy="93566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/>
              <a:t>In </a:t>
            </a:r>
            <a:r>
              <a:rPr lang="de-DE" sz="1400" dirty="0" err="1"/>
              <a:t>Only</a:t>
            </a:r>
            <a:endParaRPr lang="de-DE" sz="14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FD5B64D-C4A0-14FB-2052-42A4C446EBB7}"/>
              </a:ext>
            </a:extLst>
          </p:cNvPr>
          <p:cNvSpPr/>
          <p:nvPr/>
        </p:nvSpPr>
        <p:spPr>
          <a:xfrm>
            <a:off x="1757561" y="3648802"/>
            <a:ext cx="2243467" cy="93566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400" dirty="0"/>
              <a:t>OK</a:t>
            </a:r>
          </a:p>
        </p:txBody>
      </p:sp>
    </p:spTree>
    <p:extLst>
      <p:ext uri="{BB962C8B-B14F-4D97-AF65-F5344CB8AC3E}">
        <p14:creationId xmlns:p14="http://schemas.microsoft.com/office/powerpoint/2010/main" val="34370329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38B91090-F730-6429-AC77-6AEE19671D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2667000" y="0"/>
            <a:ext cx="6858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6" descr="HiLetgo ESP-WROOM-32">
            <a:extLst>
              <a:ext uri="{FF2B5EF4-FFF2-40B4-BE49-F238E27FC236}">
                <a16:creationId xmlns:a16="http://schemas.microsoft.com/office/drawing/2014/main" id="{E7563F9F-F97A-05A2-DBCC-D168B7B3D62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955" t="8629" r="38691" b="9246"/>
          <a:stretch/>
        </p:blipFill>
        <p:spPr bwMode="auto">
          <a:xfrm rot="16200000">
            <a:off x="6164302" y="1337459"/>
            <a:ext cx="2128903" cy="3859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Interfacing DRV8833 Dual Motor Driver Module with Arduino">
            <a:extLst>
              <a:ext uri="{FF2B5EF4-FFF2-40B4-BE49-F238E27FC236}">
                <a16:creationId xmlns:a16="http://schemas.microsoft.com/office/drawing/2014/main" id="{F7A4AF17-865B-D4DF-3D3E-D5BAD7B799D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904" t="26051" r="35201" b="27516"/>
          <a:stretch/>
        </p:blipFill>
        <p:spPr bwMode="auto">
          <a:xfrm>
            <a:off x="9878316" y="2853774"/>
            <a:ext cx="1341803" cy="11504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BAC3796-7EA7-A720-334C-417FCEE30446}"/>
              </a:ext>
            </a:extLst>
          </p:cNvPr>
          <p:cNvCxnSpPr/>
          <p:nvPr/>
        </p:nvCxnSpPr>
        <p:spPr>
          <a:xfrm>
            <a:off x="3324225" y="1514475"/>
            <a:ext cx="0" cy="3533775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973B31F-62DA-FBF9-5798-5357B0103687}"/>
              </a:ext>
            </a:extLst>
          </p:cNvPr>
          <p:cNvCxnSpPr>
            <a:cxnSpLocks/>
          </p:cNvCxnSpPr>
          <p:nvPr/>
        </p:nvCxnSpPr>
        <p:spPr>
          <a:xfrm>
            <a:off x="7936535" y="4432254"/>
            <a:ext cx="120078" cy="604643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E72E89F1-DE3E-DF08-C531-06E33C3A207B}"/>
              </a:ext>
            </a:extLst>
          </p:cNvPr>
          <p:cNvSpPr/>
          <p:nvPr/>
        </p:nvSpPr>
        <p:spPr>
          <a:xfrm>
            <a:off x="3345531" y="2155825"/>
            <a:ext cx="819244" cy="306705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US" sz="1400" dirty="0" err="1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8E1B3BC-B84A-487C-2416-D2E1290FF478}"/>
              </a:ext>
            </a:extLst>
          </p:cNvPr>
          <p:cNvGrpSpPr/>
          <p:nvPr/>
        </p:nvGrpSpPr>
        <p:grpSpPr>
          <a:xfrm>
            <a:off x="1312132" y="1467071"/>
            <a:ext cx="763723" cy="180754"/>
            <a:chOff x="3563025" y="2201148"/>
            <a:chExt cx="763723" cy="180754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AD7AA7B9-2305-4DB6-1AD0-362FB942274A}"/>
                </a:ext>
              </a:extLst>
            </p:cNvPr>
            <p:cNvSpPr/>
            <p:nvPr/>
          </p:nvSpPr>
          <p:spPr>
            <a:xfrm>
              <a:off x="4146748" y="2201148"/>
              <a:ext cx="180000" cy="18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A75DCE3E-B512-0911-D64E-DC963A4F7C8B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D3152CC-AC8E-8578-E0A3-EBBD23C4EC1C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365DED4A-26DB-4CA2-8A00-0B44A0975413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6D5CF2C5-A8A7-6044-330A-4D952ECE69C5}"/>
                </a:ext>
              </a:extLst>
            </p:cNvPr>
            <p:cNvGrpSpPr/>
            <p:nvPr/>
          </p:nvGrpSpPr>
          <p:grpSpPr>
            <a:xfrm>
              <a:off x="3612386" y="2255902"/>
              <a:ext cx="657449" cy="72000"/>
              <a:chOff x="3612386" y="2255902"/>
              <a:chExt cx="657449" cy="72000"/>
            </a:xfrm>
          </p:grpSpPr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B75D0647-E9F8-6A05-52E5-6F4C181F9F27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436D166-A256-9792-0029-DB2C8D8039BF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A91E7A4A-0C47-3F95-D04F-8306EC8D95E3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7E4657F3-59ED-710B-6C65-26C6B4123D96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D3739A8-6735-04AB-D5BE-38E29C9260CE}"/>
              </a:ext>
            </a:extLst>
          </p:cNvPr>
          <p:cNvGrpSpPr/>
          <p:nvPr/>
        </p:nvGrpSpPr>
        <p:grpSpPr>
          <a:xfrm>
            <a:off x="3345531" y="2202616"/>
            <a:ext cx="763723" cy="180754"/>
            <a:chOff x="3563025" y="2201148"/>
            <a:chExt cx="763723" cy="180754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A4E6725-765B-96E7-4425-6C7F25A3904E}"/>
                </a:ext>
              </a:extLst>
            </p:cNvPr>
            <p:cNvSpPr/>
            <p:nvPr/>
          </p:nvSpPr>
          <p:spPr>
            <a:xfrm>
              <a:off x="4146748" y="2201148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1B6190EE-E9D9-F693-BBFD-4E2C85BAEB7F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DA72060B-362D-6F44-5ED9-1F043BA8AC99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94CC3569-7952-7F68-EA3E-5A844134158E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399F1B54-0AAE-C650-09EF-D196DD25DE2A}"/>
                </a:ext>
              </a:extLst>
            </p:cNvPr>
            <p:cNvGrpSpPr/>
            <p:nvPr/>
          </p:nvGrpSpPr>
          <p:grpSpPr>
            <a:xfrm>
              <a:off x="3612386" y="2255902"/>
              <a:ext cx="657449" cy="72000"/>
              <a:chOff x="3612386" y="2255902"/>
              <a:chExt cx="657449" cy="72000"/>
            </a:xfrm>
          </p:grpSpPr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43B2CF6D-B9C3-AF21-65B8-7EDEE2045733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2AFA8B74-FF28-414D-E05D-57AFA96CF8EB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81BF3C83-FF82-878B-211F-88DCFFF48B14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FF14F6D2-3211-2FF3-805B-02216D1FF3F8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C41DDC22-07A0-A55C-BE12-E26E3AADCA32}"/>
              </a:ext>
            </a:extLst>
          </p:cNvPr>
          <p:cNvSpPr txBox="1"/>
          <p:nvPr/>
        </p:nvSpPr>
        <p:spPr>
          <a:xfrm rot="16200000">
            <a:off x="3595103" y="2129636"/>
            <a:ext cx="307976" cy="7540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GND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VCC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CK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DA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B8192C7-671A-12AB-97BE-1AFA51162F32}"/>
              </a:ext>
            </a:extLst>
          </p:cNvPr>
          <p:cNvSpPr txBox="1"/>
          <p:nvPr/>
        </p:nvSpPr>
        <p:spPr>
          <a:xfrm rot="16200000">
            <a:off x="5922504" y="2492126"/>
            <a:ext cx="361285" cy="754053"/>
          </a:xfrm>
          <a:prstGeom prst="rect">
            <a:avLst/>
          </a:prstGeom>
          <a:solidFill>
            <a:srgbClr val="000000">
              <a:alpha val="23137"/>
            </a:srgbClr>
          </a:solidFill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CL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 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endParaRPr lang="en-US" sz="1100" dirty="0">
              <a:solidFill>
                <a:schemeClr val="bg1"/>
              </a:solidFill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DA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6371556F-5419-FF68-A148-F1684B6D8705}"/>
              </a:ext>
            </a:extLst>
          </p:cNvPr>
          <p:cNvGrpSpPr/>
          <p:nvPr/>
        </p:nvGrpSpPr>
        <p:grpSpPr>
          <a:xfrm rot="10800000">
            <a:off x="4325653" y="3785642"/>
            <a:ext cx="568511" cy="180754"/>
            <a:chOff x="3563025" y="2201148"/>
            <a:chExt cx="568511" cy="180754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019256F8-97A7-20B9-D492-2CDDA5D69A04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743E542C-9184-D64C-5B3D-DA4BF39AB90A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B2DFB6-C3CD-BDE7-70C3-62CE3D59F581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A7AE47DF-F4DA-1800-7386-DBC762AE23DA}"/>
                </a:ext>
              </a:extLst>
            </p:cNvPr>
            <p:cNvGrpSpPr/>
            <p:nvPr/>
          </p:nvGrpSpPr>
          <p:grpSpPr>
            <a:xfrm>
              <a:off x="3612386" y="2255902"/>
              <a:ext cx="462300" cy="72000"/>
              <a:chOff x="3612386" y="2255902"/>
              <a:chExt cx="462300" cy="72000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AFAC5F3D-2D0B-47B9-D832-D6B1B5E1E8D9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AD3D8E47-F322-57C3-2543-E804C4E73BB7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AD36A598-7C77-9AD7-92DE-13E52B5C691D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94EFD9F7-BF2C-479C-AE62-17DC73E93C75}"/>
              </a:ext>
            </a:extLst>
          </p:cNvPr>
          <p:cNvGrpSpPr/>
          <p:nvPr/>
        </p:nvGrpSpPr>
        <p:grpSpPr>
          <a:xfrm>
            <a:off x="4324417" y="3000964"/>
            <a:ext cx="763723" cy="180754"/>
            <a:chOff x="3563025" y="2201148"/>
            <a:chExt cx="763723" cy="180754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20E65A85-A9E4-1629-D8A4-235BFC1E987C}"/>
                </a:ext>
              </a:extLst>
            </p:cNvPr>
            <p:cNvSpPr/>
            <p:nvPr/>
          </p:nvSpPr>
          <p:spPr>
            <a:xfrm>
              <a:off x="4146748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7C5D3898-5AC5-9D50-DE41-F7EBA5BB6EE0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7E67AEB6-DAD0-46EB-016C-953B8A4C4442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32BA937B-1859-3EF0-C301-7E57132857FF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368A34C8-6AEA-2048-F9A3-DE7E9EFB7C1E}"/>
                </a:ext>
              </a:extLst>
            </p:cNvPr>
            <p:cNvGrpSpPr/>
            <p:nvPr/>
          </p:nvGrpSpPr>
          <p:grpSpPr>
            <a:xfrm>
              <a:off x="3612386" y="2255902"/>
              <a:ext cx="657449" cy="72000"/>
              <a:chOff x="3612386" y="2255902"/>
              <a:chExt cx="657449" cy="72000"/>
            </a:xfrm>
          </p:grpSpPr>
          <p:sp>
            <p:nvSpPr>
              <p:cNvPr id="54" name="Rectangle 53">
                <a:extLst>
                  <a:ext uri="{FF2B5EF4-FFF2-40B4-BE49-F238E27FC236}">
                    <a16:creationId xmlns:a16="http://schemas.microsoft.com/office/drawing/2014/main" id="{FD942769-47C7-19B4-3C8C-1B211460B8FB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CEFC531A-A8A2-DB67-5637-CBACD444207D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59B63754-D51B-9A09-F2A7-9FEF0F608E70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95035C39-CED8-83C8-A3DA-DDF95F08C8CE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pic>
        <p:nvPicPr>
          <p:cNvPr id="58" name="Picture 4" descr="1pcs AS5600 자기 인코더 자기 유도 각도 측정 센서 모듈 12bit 고정밀|반도체 집적회로| - AliExpress">
            <a:extLst>
              <a:ext uri="{FF2B5EF4-FFF2-40B4-BE49-F238E27FC236}">
                <a16:creationId xmlns:a16="http://schemas.microsoft.com/office/drawing/2014/main" id="{7367BCA0-D8D4-1CA0-B396-21407806CA4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06" t="23174" r="35275" b="16395"/>
          <a:stretch/>
        </p:blipFill>
        <p:spPr bwMode="auto">
          <a:xfrm>
            <a:off x="173898" y="609354"/>
            <a:ext cx="1652440" cy="1824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B7F0CB44-35CE-366A-D4CB-5E5575129DD6}"/>
              </a:ext>
            </a:extLst>
          </p:cNvPr>
          <p:cNvSpPr txBox="1"/>
          <p:nvPr/>
        </p:nvSpPr>
        <p:spPr>
          <a:xfrm rot="16200000">
            <a:off x="4416119" y="2888583"/>
            <a:ext cx="326708" cy="948978"/>
          </a:xfrm>
          <a:prstGeom prst="rect">
            <a:avLst/>
          </a:prstGeom>
          <a:solidFill>
            <a:srgbClr val="000000">
              <a:alpha val="21961"/>
            </a:srgbClr>
          </a:solidFill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endParaRPr lang="en-US" sz="1100" dirty="0">
              <a:solidFill>
                <a:schemeClr val="bg1"/>
              </a:solidFill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DIR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CK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DA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PGO</a:t>
            </a:r>
          </a:p>
        </p:txBody>
      </p:sp>
      <p:cxnSp>
        <p:nvCxnSpPr>
          <p:cNvPr id="2048" name="Straight Connector 2047">
            <a:extLst>
              <a:ext uri="{FF2B5EF4-FFF2-40B4-BE49-F238E27FC236}">
                <a16:creationId xmlns:a16="http://schemas.microsoft.com/office/drawing/2014/main" id="{912275B6-3E85-59C4-6095-E01AEF8FB4A0}"/>
              </a:ext>
            </a:extLst>
          </p:cNvPr>
          <p:cNvCxnSpPr>
            <a:cxnSpLocks/>
          </p:cNvCxnSpPr>
          <p:nvPr/>
        </p:nvCxnSpPr>
        <p:spPr>
          <a:xfrm flipH="1">
            <a:off x="5299146" y="4465078"/>
            <a:ext cx="113402" cy="757797"/>
          </a:xfrm>
          <a:prstGeom prst="line">
            <a:avLst/>
          </a:prstGeom>
          <a:ln w="762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1" name="Straight Connector 2050">
            <a:extLst>
              <a:ext uri="{FF2B5EF4-FFF2-40B4-BE49-F238E27FC236}">
                <a16:creationId xmlns:a16="http://schemas.microsoft.com/office/drawing/2014/main" id="{7CE7E800-5203-ACE0-60EB-A220F1B5BBBA}"/>
              </a:ext>
            </a:extLst>
          </p:cNvPr>
          <p:cNvCxnSpPr>
            <a:cxnSpLocks/>
          </p:cNvCxnSpPr>
          <p:nvPr/>
        </p:nvCxnSpPr>
        <p:spPr>
          <a:xfrm>
            <a:off x="8839200" y="1748671"/>
            <a:ext cx="465186" cy="0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9" name="Straight Connector 2058">
            <a:extLst>
              <a:ext uri="{FF2B5EF4-FFF2-40B4-BE49-F238E27FC236}">
                <a16:creationId xmlns:a16="http://schemas.microsoft.com/office/drawing/2014/main" id="{D9241F75-2E76-DAF3-0F9D-7A754CC2A1C3}"/>
              </a:ext>
            </a:extLst>
          </p:cNvPr>
          <p:cNvCxnSpPr>
            <a:cxnSpLocks/>
          </p:cNvCxnSpPr>
          <p:nvPr/>
        </p:nvCxnSpPr>
        <p:spPr>
          <a:xfrm>
            <a:off x="8839200" y="3679067"/>
            <a:ext cx="465186" cy="0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1" name="Straight Connector 2060">
            <a:extLst>
              <a:ext uri="{FF2B5EF4-FFF2-40B4-BE49-F238E27FC236}">
                <a16:creationId xmlns:a16="http://schemas.microsoft.com/office/drawing/2014/main" id="{C93EB9E4-AD2A-954D-E2FA-982D6AD556D3}"/>
              </a:ext>
            </a:extLst>
          </p:cNvPr>
          <p:cNvCxnSpPr>
            <a:cxnSpLocks/>
          </p:cNvCxnSpPr>
          <p:nvPr/>
        </p:nvCxnSpPr>
        <p:spPr>
          <a:xfrm>
            <a:off x="9304386" y="1748671"/>
            <a:ext cx="5647" cy="1940679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67" name="Group 2066">
            <a:extLst>
              <a:ext uri="{FF2B5EF4-FFF2-40B4-BE49-F238E27FC236}">
                <a16:creationId xmlns:a16="http://schemas.microsoft.com/office/drawing/2014/main" id="{D684337F-7D8D-4C78-EA91-DB0F695473FD}"/>
              </a:ext>
            </a:extLst>
          </p:cNvPr>
          <p:cNvGrpSpPr/>
          <p:nvPr/>
        </p:nvGrpSpPr>
        <p:grpSpPr>
          <a:xfrm>
            <a:off x="5492324" y="595949"/>
            <a:ext cx="763723" cy="180754"/>
            <a:chOff x="3563025" y="2201148"/>
            <a:chExt cx="763723" cy="180754"/>
          </a:xfrm>
        </p:grpSpPr>
        <p:sp>
          <p:nvSpPr>
            <p:cNvPr id="2068" name="Rectangle 2067">
              <a:extLst>
                <a:ext uri="{FF2B5EF4-FFF2-40B4-BE49-F238E27FC236}">
                  <a16:creationId xmlns:a16="http://schemas.microsoft.com/office/drawing/2014/main" id="{CE97F6DB-2568-671E-220A-3194ED9E12AC}"/>
                </a:ext>
              </a:extLst>
            </p:cNvPr>
            <p:cNvSpPr/>
            <p:nvPr/>
          </p:nvSpPr>
          <p:spPr>
            <a:xfrm>
              <a:off x="4146748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069" name="Rectangle 2068">
              <a:extLst>
                <a:ext uri="{FF2B5EF4-FFF2-40B4-BE49-F238E27FC236}">
                  <a16:creationId xmlns:a16="http://schemas.microsoft.com/office/drawing/2014/main" id="{A0412251-57CF-AB45-320B-4561D3549322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070" name="Rectangle 2069">
              <a:extLst>
                <a:ext uri="{FF2B5EF4-FFF2-40B4-BE49-F238E27FC236}">
                  <a16:creationId xmlns:a16="http://schemas.microsoft.com/office/drawing/2014/main" id="{54064BC7-45BC-E569-8C2D-20B1C21417AD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071" name="Rectangle 2070">
              <a:extLst>
                <a:ext uri="{FF2B5EF4-FFF2-40B4-BE49-F238E27FC236}">
                  <a16:creationId xmlns:a16="http://schemas.microsoft.com/office/drawing/2014/main" id="{0BE0DF51-3C5B-F531-E249-E82C2887A379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2072" name="Group 2071">
              <a:extLst>
                <a:ext uri="{FF2B5EF4-FFF2-40B4-BE49-F238E27FC236}">
                  <a16:creationId xmlns:a16="http://schemas.microsoft.com/office/drawing/2014/main" id="{D878DC87-C9AF-03FF-553E-91861B159672}"/>
                </a:ext>
              </a:extLst>
            </p:cNvPr>
            <p:cNvGrpSpPr/>
            <p:nvPr/>
          </p:nvGrpSpPr>
          <p:grpSpPr>
            <a:xfrm>
              <a:off x="3612386" y="2255902"/>
              <a:ext cx="657449" cy="72000"/>
              <a:chOff x="3612386" y="2255902"/>
              <a:chExt cx="657449" cy="72000"/>
            </a:xfrm>
          </p:grpSpPr>
          <p:sp>
            <p:nvSpPr>
              <p:cNvPr id="2073" name="Rectangle 2072">
                <a:extLst>
                  <a:ext uri="{FF2B5EF4-FFF2-40B4-BE49-F238E27FC236}">
                    <a16:creationId xmlns:a16="http://schemas.microsoft.com/office/drawing/2014/main" id="{3272FDCE-A722-05C0-4DF7-0F4E0834DE09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74" name="Rectangle 2073">
                <a:extLst>
                  <a:ext uri="{FF2B5EF4-FFF2-40B4-BE49-F238E27FC236}">
                    <a16:creationId xmlns:a16="http://schemas.microsoft.com/office/drawing/2014/main" id="{BE02EFDC-9968-8FD4-5E05-EF9940A72257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75" name="Rectangle 2074">
                <a:extLst>
                  <a:ext uri="{FF2B5EF4-FFF2-40B4-BE49-F238E27FC236}">
                    <a16:creationId xmlns:a16="http://schemas.microsoft.com/office/drawing/2014/main" id="{73577D34-4178-99E9-19E2-462EFF30642F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76" name="Rectangle 2075">
                <a:extLst>
                  <a:ext uri="{FF2B5EF4-FFF2-40B4-BE49-F238E27FC236}">
                    <a16:creationId xmlns:a16="http://schemas.microsoft.com/office/drawing/2014/main" id="{84614F9C-D1D7-299B-AF0B-66D1E715D5D5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cxnSp>
        <p:nvCxnSpPr>
          <p:cNvPr id="2087" name="Straight Connector 2086">
            <a:extLst>
              <a:ext uri="{FF2B5EF4-FFF2-40B4-BE49-F238E27FC236}">
                <a16:creationId xmlns:a16="http://schemas.microsoft.com/office/drawing/2014/main" id="{CCC5E001-C494-4746-89D6-C431169BAD56}"/>
              </a:ext>
            </a:extLst>
          </p:cNvPr>
          <p:cNvCxnSpPr>
            <a:cxnSpLocks/>
          </p:cNvCxnSpPr>
          <p:nvPr/>
        </p:nvCxnSpPr>
        <p:spPr>
          <a:xfrm flipH="1">
            <a:off x="4991107" y="2876634"/>
            <a:ext cx="381321" cy="0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2" name="Straight Connector 2091">
            <a:extLst>
              <a:ext uri="{FF2B5EF4-FFF2-40B4-BE49-F238E27FC236}">
                <a16:creationId xmlns:a16="http://schemas.microsoft.com/office/drawing/2014/main" id="{9BB1AFB2-EAD4-3E56-776C-AF8FC63B78A4}"/>
              </a:ext>
            </a:extLst>
          </p:cNvPr>
          <p:cNvCxnSpPr>
            <a:cxnSpLocks/>
          </p:cNvCxnSpPr>
          <p:nvPr/>
        </p:nvCxnSpPr>
        <p:spPr>
          <a:xfrm flipH="1" flipV="1">
            <a:off x="4795710" y="2690224"/>
            <a:ext cx="1615636" cy="18966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4" name="Straight Connector 2093">
            <a:extLst>
              <a:ext uri="{FF2B5EF4-FFF2-40B4-BE49-F238E27FC236}">
                <a16:creationId xmlns:a16="http://schemas.microsoft.com/office/drawing/2014/main" id="{56807906-60D6-3C19-512F-540D1F2B16B5}"/>
              </a:ext>
            </a:extLst>
          </p:cNvPr>
          <p:cNvCxnSpPr>
            <a:cxnSpLocks/>
          </p:cNvCxnSpPr>
          <p:nvPr/>
        </p:nvCxnSpPr>
        <p:spPr>
          <a:xfrm flipH="1" flipV="1">
            <a:off x="4629961" y="2497966"/>
            <a:ext cx="1164672" cy="8696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77" name="Group 2076">
            <a:extLst>
              <a:ext uri="{FF2B5EF4-FFF2-40B4-BE49-F238E27FC236}">
                <a16:creationId xmlns:a16="http://schemas.microsoft.com/office/drawing/2014/main" id="{E58F6E4C-3247-0908-EC95-591274968F6B}"/>
              </a:ext>
            </a:extLst>
          </p:cNvPr>
          <p:cNvGrpSpPr/>
          <p:nvPr/>
        </p:nvGrpSpPr>
        <p:grpSpPr>
          <a:xfrm>
            <a:off x="5720810" y="2416662"/>
            <a:ext cx="763863" cy="381774"/>
            <a:chOff x="3563025" y="2201148"/>
            <a:chExt cx="763863" cy="381774"/>
          </a:xfrm>
        </p:grpSpPr>
        <p:sp>
          <p:nvSpPr>
            <p:cNvPr id="2078" name="Rectangle 2077">
              <a:extLst>
                <a:ext uri="{FF2B5EF4-FFF2-40B4-BE49-F238E27FC236}">
                  <a16:creationId xmlns:a16="http://schemas.microsoft.com/office/drawing/2014/main" id="{B8F9347A-0F34-638C-982B-88A8C8C4D9B7}"/>
                </a:ext>
              </a:extLst>
            </p:cNvPr>
            <p:cNvSpPr/>
            <p:nvPr/>
          </p:nvSpPr>
          <p:spPr>
            <a:xfrm>
              <a:off x="4146888" y="240292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081" name="Rectangle 2080">
              <a:extLst>
                <a:ext uri="{FF2B5EF4-FFF2-40B4-BE49-F238E27FC236}">
                  <a16:creationId xmlns:a16="http://schemas.microsoft.com/office/drawing/2014/main" id="{D5C2618F-A279-A777-FF35-ACB8596E995E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2082" name="Group 2081">
              <a:extLst>
                <a:ext uri="{FF2B5EF4-FFF2-40B4-BE49-F238E27FC236}">
                  <a16:creationId xmlns:a16="http://schemas.microsoft.com/office/drawing/2014/main" id="{065EFA8F-9EBF-59BA-0019-501C71F12164}"/>
                </a:ext>
              </a:extLst>
            </p:cNvPr>
            <p:cNvGrpSpPr/>
            <p:nvPr/>
          </p:nvGrpSpPr>
          <p:grpSpPr>
            <a:xfrm>
              <a:off x="3612386" y="2255902"/>
              <a:ext cx="657589" cy="273774"/>
              <a:chOff x="3612386" y="2255902"/>
              <a:chExt cx="657589" cy="273774"/>
            </a:xfrm>
          </p:grpSpPr>
          <p:sp>
            <p:nvSpPr>
              <p:cNvPr id="2083" name="Rectangle 2082">
                <a:extLst>
                  <a:ext uri="{FF2B5EF4-FFF2-40B4-BE49-F238E27FC236}">
                    <a16:creationId xmlns:a16="http://schemas.microsoft.com/office/drawing/2014/main" id="{E1238188-43A5-A98D-039C-777279018ECF}"/>
                  </a:ext>
                </a:extLst>
              </p:cNvPr>
              <p:cNvSpPr/>
              <p:nvPr/>
            </p:nvSpPr>
            <p:spPr>
              <a:xfrm>
                <a:off x="4197975" y="2457676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86" name="Rectangle 2085">
                <a:extLst>
                  <a:ext uri="{FF2B5EF4-FFF2-40B4-BE49-F238E27FC236}">
                    <a16:creationId xmlns:a16="http://schemas.microsoft.com/office/drawing/2014/main" id="{0C957B10-D175-686E-4E9E-9C24D733B1F2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cxnSp>
        <p:nvCxnSpPr>
          <p:cNvPr id="2096" name="Straight Connector 2095">
            <a:extLst>
              <a:ext uri="{FF2B5EF4-FFF2-40B4-BE49-F238E27FC236}">
                <a16:creationId xmlns:a16="http://schemas.microsoft.com/office/drawing/2014/main" id="{AEE5C106-EF17-5439-93CC-B235CE76C64C}"/>
              </a:ext>
            </a:extLst>
          </p:cNvPr>
          <p:cNvCxnSpPr>
            <a:cxnSpLocks/>
          </p:cNvCxnSpPr>
          <p:nvPr/>
        </p:nvCxnSpPr>
        <p:spPr>
          <a:xfrm flipH="1" flipV="1">
            <a:off x="4060697" y="2883227"/>
            <a:ext cx="787254" cy="599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8" name="Straight Connector 2097">
            <a:extLst>
              <a:ext uri="{FF2B5EF4-FFF2-40B4-BE49-F238E27FC236}">
                <a16:creationId xmlns:a16="http://schemas.microsoft.com/office/drawing/2014/main" id="{951CC4E8-28AC-6564-70AA-2A6FFE572CCD}"/>
              </a:ext>
            </a:extLst>
          </p:cNvPr>
          <p:cNvCxnSpPr>
            <a:cxnSpLocks/>
          </p:cNvCxnSpPr>
          <p:nvPr/>
        </p:nvCxnSpPr>
        <p:spPr>
          <a:xfrm flipH="1" flipV="1">
            <a:off x="3852705" y="2683527"/>
            <a:ext cx="802832" cy="14749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4" name="Straight Connector 2103">
            <a:extLst>
              <a:ext uri="{FF2B5EF4-FFF2-40B4-BE49-F238E27FC236}">
                <a16:creationId xmlns:a16="http://schemas.microsoft.com/office/drawing/2014/main" id="{859F8D17-A187-165D-5B1C-469E195C8D6D}"/>
              </a:ext>
            </a:extLst>
          </p:cNvPr>
          <p:cNvCxnSpPr>
            <a:cxnSpLocks/>
          </p:cNvCxnSpPr>
          <p:nvPr/>
        </p:nvCxnSpPr>
        <p:spPr>
          <a:xfrm>
            <a:off x="4428052" y="4465078"/>
            <a:ext cx="76365" cy="764847"/>
          </a:xfrm>
          <a:prstGeom prst="line">
            <a:avLst/>
          </a:prstGeom>
          <a:ln w="762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6" name="Straight Connector 2105">
            <a:extLst>
              <a:ext uri="{FF2B5EF4-FFF2-40B4-BE49-F238E27FC236}">
                <a16:creationId xmlns:a16="http://schemas.microsoft.com/office/drawing/2014/main" id="{72608580-DF29-74D5-AEA1-D0D964E7D91A}"/>
              </a:ext>
            </a:extLst>
          </p:cNvPr>
          <p:cNvCxnSpPr>
            <a:cxnSpLocks/>
          </p:cNvCxnSpPr>
          <p:nvPr/>
        </p:nvCxnSpPr>
        <p:spPr>
          <a:xfrm>
            <a:off x="3662042" y="3055718"/>
            <a:ext cx="68402" cy="2174207"/>
          </a:xfrm>
          <a:prstGeom prst="line">
            <a:avLst/>
          </a:prstGeom>
          <a:ln w="762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9" name="Straight Connector 2108">
            <a:extLst>
              <a:ext uri="{FF2B5EF4-FFF2-40B4-BE49-F238E27FC236}">
                <a16:creationId xmlns:a16="http://schemas.microsoft.com/office/drawing/2014/main" id="{E9DFAEA0-7BD0-4968-5230-59C137E03ED9}"/>
              </a:ext>
            </a:extLst>
          </p:cNvPr>
          <p:cNvCxnSpPr>
            <a:cxnSpLocks/>
          </p:cNvCxnSpPr>
          <p:nvPr/>
        </p:nvCxnSpPr>
        <p:spPr>
          <a:xfrm>
            <a:off x="3456630" y="3090964"/>
            <a:ext cx="55352" cy="1945933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13" name="Group 2112">
            <a:extLst>
              <a:ext uri="{FF2B5EF4-FFF2-40B4-BE49-F238E27FC236}">
                <a16:creationId xmlns:a16="http://schemas.microsoft.com/office/drawing/2014/main" id="{C8B0D7CE-FB95-5416-F77A-574A2D8AB288}"/>
              </a:ext>
            </a:extLst>
          </p:cNvPr>
          <p:cNvGrpSpPr/>
          <p:nvPr/>
        </p:nvGrpSpPr>
        <p:grpSpPr>
          <a:xfrm>
            <a:off x="504978" y="887683"/>
            <a:ext cx="763723" cy="180754"/>
            <a:chOff x="3563025" y="2201148"/>
            <a:chExt cx="763723" cy="180754"/>
          </a:xfrm>
        </p:grpSpPr>
        <p:sp>
          <p:nvSpPr>
            <p:cNvPr id="2114" name="Rectangle 2113">
              <a:extLst>
                <a:ext uri="{FF2B5EF4-FFF2-40B4-BE49-F238E27FC236}">
                  <a16:creationId xmlns:a16="http://schemas.microsoft.com/office/drawing/2014/main" id="{55C15780-C646-E753-8728-8A910A584D28}"/>
                </a:ext>
              </a:extLst>
            </p:cNvPr>
            <p:cNvSpPr/>
            <p:nvPr/>
          </p:nvSpPr>
          <p:spPr>
            <a:xfrm>
              <a:off x="4146748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15" name="Rectangle 2114">
              <a:extLst>
                <a:ext uri="{FF2B5EF4-FFF2-40B4-BE49-F238E27FC236}">
                  <a16:creationId xmlns:a16="http://schemas.microsoft.com/office/drawing/2014/main" id="{587521D3-B567-17A8-AE58-89A84733E9DC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16" name="Rectangle 2115">
              <a:extLst>
                <a:ext uri="{FF2B5EF4-FFF2-40B4-BE49-F238E27FC236}">
                  <a16:creationId xmlns:a16="http://schemas.microsoft.com/office/drawing/2014/main" id="{A0D9FE08-638E-A84C-DEC2-1F4F7D3A8AA8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17" name="Rectangle 2116">
              <a:extLst>
                <a:ext uri="{FF2B5EF4-FFF2-40B4-BE49-F238E27FC236}">
                  <a16:creationId xmlns:a16="http://schemas.microsoft.com/office/drawing/2014/main" id="{A7208FF8-25CE-FF95-7FD2-60F8B555F344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2118" name="Group 2117">
              <a:extLst>
                <a:ext uri="{FF2B5EF4-FFF2-40B4-BE49-F238E27FC236}">
                  <a16:creationId xmlns:a16="http://schemas.microsoft.com/office/drawing/2014/main" id="{3339692A-79C7-FA70-10D4-6E689FB73FD3}"/>
                </a:ext>
              </a:extLst>
            </p:cNvPr>
            <p:cNvGrpSpPr/>
            <p:nvPr/>
          </p:nvGrpSpPr>
          <p:grpSpPr>
            <a:xfrm>
              <a:off x="3612386" y="2255902"/>
              <a:ext cx="657449" cy="72000"/>
              <a:chOff x="3612386" y="2255902"/>
              <a:chExt cx="657449" cy="72000"/>
            </a:xfrm>
          </p:grpSpPr>
          <p:sp>
            <p:nvSpPr>
              <p:cNvPr id="2119" name="Rectangle 2118">
                <a:extLst>
                  <a:ext uri="{FF2B5EF4-FFF2-40B4-BE49-F238E27FC236}">
                    <a16:creationId xmlns:a16="http://schemas.microsoft.com/office/drawing/2014/main" id="{9E243B49-B5B8-3D53-9391-7E25DFFF5FCD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120" name="Rectangle 2119">
                <a:extLst>
                  <a:ext uri="{FF2B5EF4-FFF2-40B4-BE49-F238E27FC236}">
                    <a16:creationId xmlns:a16="http://schemas.microsoft.com/office/drawing/2014/main" id="{6800161B-3C29-D2CC-C652-996A12AF1A87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121" name="Rectangle 2120">
                <a:extLst>
                  <a:ext uri="{FF2B5EF4-FFF2-40B4-BE49-F238E27FC236}">
                    <a16:creationId xmlns:a16="http://schemas.microsoft.com/office/drawing/2014/main" id="{FD4FAF56-12B6-2C0A-3B3A-D3B2EC48CA9C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122" name="Rectangle 2121">
                <a:extLst>
                  <a:ext uri="{FF2B5EF4-FFF2-40B4-BE49-F238E27FC236}">
                    <a16:creationId xmlns:a16="http://schemas.microsoft.com/office/drawing/2014/main" id="{B8D9E695-2912-13E8-7889-3406CD5E2BA2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sp>
        <p:nvSpPr>
          <p:cNvPr id="2123" name="TextBox 2122">
            <a:extLst>
              <a:ext uri="{FF2B5EF4-FFF2-40B4-BE49-F238E27FC236}">
                <a16:creationId xmlns:a16="http://schemas.microsoft.com/office/drawing/2014/main" id="{95633BF5-1D02-D96E-757E-450D16056520}"/>
              </a:ext>
            </a:extLst>
          </p:cNvPr>
          <p:cNvSpPr txBox="1"/>
          <p:nvPr/>
        </p:nvSpPr>
        <p:spPr>
          <a:xfrm rot="16200000">
            <a:off x="596680" y="775302"/>
            <a:ext cx="326708" cy="948978"/>
          </a:xfrm>
          <a:prstGeom prst="rect">
            <a:avLst/>
          </a:prstGeom>
          <a:solidFill>
            <a:srgbClr val="000000">
              <a:alpha val="21961"/>
            </a:srgbClr>
          </a:solidFill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endParaRPr lang="en-US" sz="1100" dirty="0">
              <a:solidFill>
                <a:schemeClr val="bg1"/>
              </a:solidFill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DIR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CK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DA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PGO</a:t>
            </a:r>
          </a:p>
        </p:txBody>
      </p:sp>
      <p:cxnSp>
        <p:nvCxnSpPr>
          <p:cNvPr id="2124" name="Straight Connector 2123">
            <a:extLst>
              <a:ext uri="{FF2B5EF4-FFF2-40B4-BE49-F238E27FC236}">
                <a16:creationId xmlns:a16="http://schemas.microsoft.com/office/drawing/2014/main" id="{EE8D1037-4BBA-FFD9-A61C-220E7776332B}"/>
              </a:ext>
            </a:extLst>
          </p:cNvPr>
          <p:cNvCxnSpPr>
            <a:cxnSpLocks/>
          </p:cNvCxnSpPr>
          <p:nvPr/>
        </p:nvCxnSpPr>
        <p:spPr>
          <a:xfrm flipH="1" flipV="1">
            <a:off x="5209226" y="3689350"/>
            <a:ext cx="1413831" cy="9137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0" name="Straight Connector 2129">
            <a:extLst>
              <a:ext uri="{FF2B5EF4-FFF2-40B4-BE49-F238E27FC236}">
                <a16:creationId xmlns:a16="http://schemas.microsoft.com/office/drawing/2014/main" id="{46F51143-0D3C-3104-FF33-272F9FD37C35}"/>
              </a:ext>
            </a:extLst>
          </p:cNvPr>
          <p:cNvCxnSpPr>
            <a:cxnSpLocks/>
          </p:cNvCxnSpPr>
          <p:nvPr/>
        </p:nvCxnSpPr>
        <p:spPr>
          <a:xfrm flipH="1">
            <a:off x="4714499" y="4448665"/>
            <a:ext cx="88429" cy="620690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2" name="Straight Connector 2131">
            <a:extLst>
              <a:ext uri="{FF2B5EF4-FFF2-40B4-BE49-F238E27FC236}">
                <a16:creationId xmlns:a16="http://schemas.microsoft.com/office/drawing/2014/main" id="{B7FFDCBA-1BE4-3E25-C06A-B234B86A57C5}"/>
              </a:ext>
            </a:extLst>
          </p:cNvPr>
          <p:cNvCxnSpPr>
            <a:cxnSpLocks/>
          </p:cNvCxnSpPr>
          <p:nvPr/>
        </p:nvCxnSpPr>
        <p:spPr>
          <a:xfrm>
            <a:off x="4991107" y="3871647"/>
            <a:ext cx="3959963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38" name="Group 2137">
            <a:extLst>
              <a:ext uri="{FF2B5EF4-FFF2-40B4-BE49-F238E27FC236}">
                <a16:creationId xmlns:a16="http://schemas.microsoft.com/office/drawing/2014/main" id="{A713250C-EB1B-EB43-71CB-85151AC58E41}"/>
              </a:ext>
            </a:extLst>
          </p:cNvPr>
          <p:cNvGrpSpPr/>
          <p:nvPr/>
        </p:nvGrpSpPr>
        <p:grpSpPr>
          <a:xfrm>
            <a:off x="4713884" y="4157288"/>
            <a:ext cx="568511" cy="180754"/>
            <a:chOff x="3563025" y="2201148"/>
            <a:chExt cx="568511" cy="180754"/>
          </a:xfrm>
        </p:grpSpPr>
        <p:sp>
          <p:nvSpPr>
            <p:cNvPr id="2139" name="Rectangle 2138">
              <a:extLst>
                <a:ext uri="{FF2B5EF4-FFF2-40B4-BE49-F238E27FC236}">
                  <a16:creationId xmlns:a16="http://schemas.microsoft.com/office/drawing/2014/main" id="{2AD9E10B-DA0C-EECD-E13B-C39AF5912B3C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40" name="Rectangle 2139">
              <a:extLst>
                <a:ext uri="{FF2B5EF4-FFF2-40B4-BE49-F238E27FC236}">
                  <a16:creationId xmlns:a16="http://schemas.microsoft.com/office/drawing/2014/main" id="{65CB9C60-8AE0-851B-702B-5FE829EEEFC4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41" name="Rectangle 2140">
              <a:extLst>
                <a:ext uri="{FF2B5EF4-FFF2-40B4-BE49-F238E27FC236}">
                  <a16:creationId xmlns:a16="http://schemas.microsoft.com/office/drawing/2014/main" id="{F6601568-687E-8C3F-670F-02CED37F3EDE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2142" name="Group 2141">
              <a:extLst>
                <a:ext uri="{FF2B5EF4-FFF2-40B4-BE49-F238E27FC236}">
                  <a16:creationId xmlns:a16="http://schemas.microsoft.com/office/drawing/2014/main" id="{3EE5C3A6-BEC7-C4CC-00B0-5FF83873F80F}"/>
                </a:ext>
              </a:extLst>
            </p:cNvPr>
            <p:cNvGrpSpPr/>
            <p:nvPr/>
          </p:nvGrpSpPr>
          <p:grpSpPr>
            <a:xfrm>
              <a:off x="3612386" y="2255902"/>
              <a:ext cx="462300" cy="72000"/>
              <a:chOff x="3612386" y="2255902"/>
              <a:chExt cx="462300" cy="72000"/>
            </a:xfrm>
          </p:grpSpPr>
          <p:sp>
            <p:nvSpPr>
              <p:cNvPr id="2143" name="Rectangle 2142">
                <a:extLst>
                  <a:ext uri="{FF2B5EF4-FFF2-40B4-BE49-F238E27FC236}">
                    <a16:creationId xmlns:a16="http://schemas.microsoft.com/office/drawing/2014/main" id="{8B71310B-3377-CC20-64D0-E1E5BF7B19FC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144" name="Rectangle 2143">
                <a:extLst>
                  <a:ext uri="{FF2B5EF4-FFF2-40B4-BE49-F238E27FC236}">
                    <a16:creationId xmlns:a16="http://schemas.microsoft.com/office/drawing/2014/main" id="{7879D1F5-09B0-992C-D234-0EC54A6D34F6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145" name="Rectangle 2144">
                <a:extLst>
                  <a:ext uri="{FF2B5EF4-FFF2-40B4-BE49-F238E27FC236}">
                    <a16:creationId xmlns:a16="http://schemas.microsoft.com/office/drawing/2014/main" id="{B31813D3-CD97-7928-5678-14A8AF6820F8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05834252-5EC0-8F8C-57F0-74CEFBCE5C75}"/>
              </a:ext>
            </a:extLst>
          </p:cNvPr>
          <p:cNvCxnSpPr>
            <a:cxnSpLocks/>
          </p:cNvCxnSpPr>
          <p:nvPr/>
        </p:nvCxnSpPr>
        <p:spPr>
          <a:xfrm flipH="1">
            <a:off x="1700643" y="4063930"/>
            <a:ext cx="5105907" cy="0"/>
          </a:xfrm>
          <a:prstGeom prst="line">
            <a:avLst/>
          </a:prstGeom>
          <a:ln w="76200"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0D22C06A-7224-CD9C-9EE3-4F59CE27D349}"/>
              </a:ext>
            </a:extLst>
          </p:cNvPr>
          <p:cNvSpPr txBox="1"/>
          <p:nvPr/>
        </p:nvSpPr>
        <p:spPr>
          <a:xfrm>
            <a:off x="1099544" y="3940539"/>
            <a:ext cx="144865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indent="-180000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bg2"/>
                </a:solidFill>
              </a:rPr>
              <a:t>LED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8D6BFA15-8565-B90E-E8A7-96408EC2DF2D}"/>
              </a:ext>
            </a:extLst>
          </p:cNvPr>
          <p:cNvSpPr txBox="1"/>
          <p:nvPr/>
        </p:nvSpPr>
        <p:spPr>
          <a:xfrm>
            <a:off x="1073489" y="3447339"/>
            <a:ext cx="144865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indent="-180000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bg2"/>
                </a:solidFill>
              </a:rPr>
              <a:t>POTI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594B7745-774B-FECF-821A-D6F2BFC145B2}"/>
              </a:ext>
            </a:extLst>
          </p:cNvPr>
          <p:cNvCxnSpPr>
            <a:cxnSpLocks/>
          </p:cNvCxnSpPr>
          <p:nvPr/>
        </p:nvCxnSpPr>
        <p:spPr>
          <a:xfrm flipH="1">
            <a:off x="1683827" y="3535690"/>
            <a:ext cx="5369324" cy="19371"/>
          </a:xfrm>
          <a:prstGeom prst="line">
            <a:avLst/>
          </a:prstGeom>
          <a:ln w="76200"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954BB559-959D-A3B6-8666-9A8E8A5C9B6F}"/>
              </a:ext>
            </a:extLst>
          </p:cNvPr>
          <p:cNvCxnSpPr>
            <a:cxnSpLocks/>
          </p:cNvCxnSpPr>
          <p:nvPr/>
        </p:nvCxnSpPr>
        <p:spPr>
          <a:xfrm flipH="1" flipV="1">
            <a:off x="7057349" y="3509160"/>
            <a:ext cx="0" cy="252000"/>
          </a:xfrm>
          <a:prstGeom prst="line">
            <a:avLst/>
          </a:prstGeom>
          <a:ln w="76200"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455952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847CA5-3357-0D28-0450-D780002AF1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91EEF778-90D5-E970-8791-694965EC332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28" r="15842"/>
          <a:stretch/>
        </p:blipFill>
        <p:spPr bwMode="auto">
          <a:xfrm rot="16200000">
            <a:off x="3862681" y="-109245"/>
            <a:ext cx="4466638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36FFEB34-A7C1-74EA-4442-063B1C7C71FD}"/>
              </a:ext>
            </a:extLst>
          </p:cNvPr>
          <p:cNvSpPr/>
          <p:nvPr/>
        </p:nvSpPr>
        <p:spPr>
          <a:xfrm>
            <a:off x="4938694" y="2207016"/>
            <a:ext cx="417153" cy="207702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US" sz="1400" dirty="0" err="1"/>
          </a:p>
        </p:txBody>
      </p:sp>
      <p:pic>
        <p:nvPicPr>
          <p:cNvPr id="4" name="Picture 6" descr="HiLetgo ESP-WROOM-32">
            <a:extLst>
              <a:ext uri="{FF2B5EF4-FFF2-40B4-BE49-F238E27FC236}">
                <a16:creationId xmlns:a16="http://schemas.microsoft.com/office/drawing/2014/main" id="{03288301-6BCB-D1A0-E764-35DF29FE41D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955" t="8629" r="38691" b="9246"/>
          <a:stretch/>
        </p:blipFill>
        <p:spPr bwMode="auto">
          <a:xfrm rot="16200000">
            <a:off x="6164302" y="1337459"/>
            <a:ext cx="2128903" cy="3859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Interfacing DRV8833 Dual Motor Driver Module with Arduino">
            <a:extLst>
              <a:ext uri="{FF2B5EF4-FFF2-40B4-BE49-F238E27FC236}">
                <a16:creationId xmlns:a16="http://schemas.microsoft.com/office/drawing/2014/main" id="{E26658E1-1E57-AB82-6531-3229A950DDC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904" t="26051" r="35201" b="27516"/>
          <a:stretch/>
        </p:blipFill>
        <p:spPr bwMode="auto">
          <a:xfrm>
            <a:off x="9878316" y="2853774"/>
            <a:ext cx="1341803" cy="11504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CF47424-1CEE-A9E0-BB7C-5108034C1B34}"/>
              </a:ext>
            </a:extLst>
          </p:cNvPr>
          <p:cNvCxnSpPr/>
          <p:nvPr/>
        </p:nvCxnSpPr>
        <p:spPr>
          <a:xfrm>
            <a:off x="8839200" y="1521824"/>
            <a:ext cx="0" cy="3533775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870C997-A81B-BDC1-16B5-935106AFD30A}"/>
              </a:ext>
            </a:extLst>
          </p:cNvPr>
          <p:cNvCxnSpPr>
            <a:cxnSpLocks/>
          </p:cNvCxnSpPr>
          <p:nvPr/>
        </p:nvCxnSpPr>
        <p:spPr>
          <a:xfrm>
            <a:off x="7936535" y="4432254"/>
            <a:ext cx="120078" cy="604643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F4E343CC-9836-C7A0-3743-B63F9EAFBAF7}"/>
              </a:ext>
            </a:extLst>
          </p:cNvPr>
          <p:cNvGrpSpPr/>
          <p:nvPr/>
        </p:nvGrpSpPr>
        <p:grpSpPr>
          <a:xfrm>
            <a:off x="1312132" y="1467071"/>
            <a:ext cx="763723" cy="180754"/>
            <a:chOff x="3563025" y="2201148"/>
            <a:chExt cx="763723" cy="180754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78123FD9-5034-7B92-361D-83B43324981C}"/>
                </a:ext>
              </a:extLst>
            </p:cNvPr>
            <p:cNvSpPr/>
            <p:nvPr/>
          </p:nvSpPr>
          <p:spPr>
            <a:xfrm>
              <a:off x="4146748" y="2201148"/>
              <a:ext cx="180000" cy="18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F3B13E8-83A6-0039-A831-95437043B4AF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A56BDDC3-85DD-D2E2-F8BB-7330E5F780BE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B739BC9-B82B-4CFB-EBF2-353F9753717C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316E9D91-864C-710C-4C62-3D7DD2927A99}"/>
                </a:ext>
              </a:extLst>
            </p:cNvPr>
            <p:cNvGrpSpPr/>
            <p:nvPr/>
          </p:nvGrpSpPr>
          <p:grpSpPr>
            <a:xfrm>
              <a:off x="3612386" y="2255902"/>
              <a:ext cx="657449" cy="72000"/>
              <a:chOff x="3612386" y="2255902"/>
              <a:chExt cx="657449" cy="72000"/>
            </a:xfrm>
          </p:grpSpPr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B19CCBCB-206D-9E5B-ABD2-7899E0AC662D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17313D07-FBD5-B100-C6CA-5249F18D1983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899B7A7B-7E83-989E-4B15-50517C1D4176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A8DBA948-F007-6020-FC38-82B254588147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7D9815B8-ADC3-39E7-2771-6BCFA2030DE1}"/>
              </a:ext>
            </a:extLst>
          </p:cNvPr>
          <p:cNvGrpSpPr/>
          <p:nvPr/>
        </p:nvGrpSpPr>
        <p:grpSpPr>
          <a:xfrm>
            <a:off x="-607279" y="2879266"/>
            <a:ext cx="819244" cy="3067050"/>
            <a:chOff x="3345531" y="2155825"/>
            <a:chExt cx="819244" cy="306705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FF6E775D-361C-0ECE-9ADA-6A90819F6D43}"/>
                </a:ext>
              </a:extLst>
            </p:cNvPr>
            <p:cNvSpPr/>
            <p:nvPr/>
          </p:nvSpPr>
          <p:spPr>
            <a:xfrm>
              <a:off x="3345531" y="2155825"/>
              <a:ext cx="819244" cy="3067050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BB0D5AE2-59E0-3A82-5B29-C51F8BD76A95}"/>
                </a:ext>
              </a:extLst>
            </p:cNvPr>
            <p:cNvGrpSpPr/>
            <p:nvPr/>
          </p:nvGrpSpPr>
          <p:grpSpPr>
            <a:xfrm>
              <a:off x="3345531" y="2202616"/>
              <a:ext cx="763723" cy="180754"/>
              <a:chOff x="3563025" y="2201148"/>
              <a:chExt cx="763723" cy="180754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30FAC579-CFAD-6BCC-78BC-61BCC0ECBFA6}"/>
                  </a:ext>
                </a:extLst>
              </p:cNvPr>
              <p:cNvSpPr/>
              <p:nvPr/>
            </p:nvSpPr>
            <p:spPr>
              <a:xfrm>
                <a:off x="4146748" y="2201148"/>
                <a:ext cx="180000" cy="180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B10EE918-C4CC-EBD3-FD0E-BA4EFC149057}"/>
                  </a:ext>
                </a:extLst>
              </p:cNvPr>
              <p:cNvSpPr/>
              <p:nvPr/>
            </p:nvSpPr>
            <p:spPr>
              <a:xfrm>
                <a:off x="3951536" y="2201902"/>
                <a:ext cx="180000" cy="18000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1C3619EE-291F-4488-E5D5-9DEF548DDB06}"/>
                  </a:ext>
                </a:extLst>
              </p:cNvPr>
              <p:cNvSpPr/>
              <p:nvPr/>
            </p:nvSpPr>
            <p:spPr>
              <a:xfrm>
                <a:off x="3754720" y="2201148"/>
                <a:ext cx="180000" cy="180000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2C418F74-FBD2-5861-6E7B-EEC57E42C4DD}"/>
                  </a:ext>
                </a:extLst>
              </p:cNvPr>
              <p:cNvSpPr/>
              <p:nvPr/>
            </p:nvSpPr>
            <p:spPr>
              <a:xfrm>
                <a:off x="3563025" y="2201148"/>
                <a:ext cx="180000" cy="180000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grpSp>
            <p:nvGrpSpPr>
              <p:cNvPr id="23" name="Group 22">
                <a:extLst>
                  <a:ext uri="{FF2B5EF4-FFF2-40B4-BE49-F238E27FC236}">
                    <a16:creationId xmlns:a16="http://schemas.microsoft.com/office/drawing/2014/main" id="{FEC31B4B-BF00-BA6D-3FC5-BB510AA05A67}"/>
                  </a:ext>
                </a:extLst>
              </p:cNvPr>
              <p:cNvGrpSpPr/>
              <p:nvPr/>
            </p:nvGrpSpPr>
            <p:grpSpPr>
              <a:xfrm>
                <a:off x="3612386" y="2255902"/>
                <a:ext cx="657449" cy="72000"/>
                <a:chOff x="3612386" y="2255902"/>
                <a:chExt cx="657449" cy="72000"/>
              </a:xfrm>
            </p:grpSpPr>
            <p:sp>
              <p:nvSpPr>
                <p:cNvPr id="24" name="Rectangle 23">
                  <a:extLst>
                    <a:ext uri="{FF2B5EF4-FFF2-40B4-BE49-F238E27FC236}">
                      <a16:creationId xmlns:a16="http://schemas.microsoft.com/office/drawing/2014/main" id="{6D87E4E2-8566-CA4B-A0C1-DC90AB1225A1}"/>
                    </a:ext>
                  </a:extLst>
                </p:cNvPr>
                <p:cNvSpPr/>
                <p:nvPr/>
              </p:nvSpPr>
              <p:spPr>
                <a:xfrm>
                  <a:off x="4197835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5" name="Rectangle 24">
                  <a:extLst>
                    <a:ext uri="{FF2B5EF4-FFF2-40B4-BE49-F238E27FC236}">
                      <a16:creationId xmlns:a16="http://schemas.microsoft.com/office/drawing/2014/main" id="{3C56AFCB-7D1E-0377-7808-308B9365DE22}"/>
                    </a:ext>
                  </a:extLst>
                </p:cNvPr>
                <p:cNvSpPr/>
                <p:nvPr/>
              </p:nvSpPr>
              <p:spPr>
                <a:xfrm>
                  <a:off x="4002686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8D120291-501E-C5A7-6FA2-8B28F09B212D}"/>
                    </a:ext>
                  </a:extLst>
                </p:cNvPr>
                <p:cNvSpPr/>
                <p:nvPr/>
              </p:nvSpPr>
              <p:spPr>
                <a:xfrm>
                  <a:off x="3807536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7" name="Rectangle 26">
                  <a:extLst>
                    <a:ext uri="{FF2B5EF4-FFF2-40B4-BE49-F238E27FC236}">
                      <a16:creationId xmlns:a16="http://schemas.microsoft.com/office/drawing/2014/main" id="{35D7F2F3-E7C5-9474-750B-0C23B3E684BA}"/>
                    </a:ext>
                  </a:extLst>
                </p:cNvPr>
                <p:cNvSpPr/>
                <p:nvPr/>
              </p:nvSpPr>
              <p:spPr>
                <a:xfrm>
                  <a:off x="3612386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</p:grpSp>
        </p:grp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067C82BF-E058-9AA7-15C5-6456117A40CD}"/>
                </a:ext>
              </a:extLst>
            </p:cNvPr>
            <p:cNvSpPr txBox="1"/>
            <p:nvPr/>
          </p:nvSpPr>
          <p:spPr>
            <a:xfrm rot="16200000">
              <a:off x="3595103" y="2129636"/>
              <a:ext cx="307976" cy="7540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GND</a:t>
              </a:r>
            </a:p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VCC</a:t>
              </a:r>
            </a:p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CK</a:t>
              </a:r>
            </a:p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DA</a:t>
              </a:r>
            </a:p>
          </p:txBody>
        </p: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01F88913-2D9E-1EE6-AB20-026AD252A2CC}"/>
              </a:ext>
            </a:extLst>
          </p:cNvPr>
          <p:cNvSpPr txBox="1"/>
          <p:nvPr/>
        </p:nvSpPr>
        <p:spPr>
          <a:xfrm rot="16200000">
            <a:off x="5922504" y="2492126"/>
            <a:ext cx="361285" cy="754053"/>
          </a:xfrm>
          <a:prstGeom prst="rect">
            <a:avLst/>
          </a:prstGeom>
          <a:solidFill>
            <a:srgbClr val="000000">
              <a:alpha val="23137"/>
            </a:srgbClr>
          </a:solidFill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CL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 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endParaRPr lang="en-US" sz="1100" dirty="0">
              <a:solidFill>
                <a:schemeClr val="bg1"/>
              </a:solidFill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DA</a:t>
            </a: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797D9C91-E8DE-E213-8F26-B94BA249A7EA}"/>
              </a:ext>
            </a:extLst>
          </p:cNvPr>
          <p:cNvGrpSpPr/>
          <p:nvPr/>
        </p:nvGrpSpPr>
        <p:grpSpPr>
          <a:xfrm>
            <a:off x="112950" y="6677246"/>
            <a:ext cx="763723" cy="180754"/>
            <a:chOff x="3563025" y="2201148"/>
            <a:chExt cx="763723" cy="180754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471F7781-1F69-B111-5557-9BF33E917816}"/>
                </a:ext>
              </a:extLst>
            </p:cNvPr>
            <p:cNvSpPr/>
            <p:nvPr/>
          </p:nvSpPr>
          <p:spPr>
            <a:xfrm>
              <a:off x="4146748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E7B3FD57-502A-FEA7-2844-784497AF0E54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A6EAF63D-5B69-C62C-0F56-C57B5BA514DC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4817AAB8-EF1D-1644-DAD7-A87E1631AB2B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297D748E-6658-D605-7E9C-EDD5B740FA00}"/>
                </a:ext>
              </a:extLst>
            </p:cNvPr>
            <p:cNvGrpSpPr/>
            <p:nvPr/>
          </p:nvGrpSpPr>
          <p:grpSpPr>
            <a:xfrm>
              <a:off x="3612386" y="2255902"/>
              <a:ext cx="657449" cy="72000"/>
              <a:chOff x="3612386" y="2255902"/>
              <a:chExt cx="657449" cy="72000"/>
            </a:xfrm>
          </p:grpSpPr>
          <p:sp>
            <p:nvSpPr>
              <p:cNvPr id="54" name="Rectangle 53">
                <a:extLst>
                  <a:ext uri="{FF2B5EF4-FFF2-40B4-BE49-F238E27FC236}">
                    <a16:creationId xmlns:a16="http://schemas.microsoft.com/office/drawing/2014/main" id="{74E48C1E-7865-6009-D881-B493AEE625AA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86800DC1-CFE1-94D2-EF66-E450F74D0B1E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A68A9239-7BD4-8B27-217E-534E68C8CF4F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AFC86A54-E73F-E721-F435-8A7AD1A0C003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pic>
        <p:nvPicPr>
          <p:cNvPr id="58" name="Picture 4" descr="1pcs AS5600 자기 인코더 자기 유도 각도 측정 센서 모듈 12bit 고정밀|반도체 집적회로| - AliExpress">
            <a:extLst>
              <a:ext uri="{FF2B5EF4-FFF2-40B4-BE49-F238E27FC236}">
                <a16:creationId xmlns:a16="http://schemas.microsoft.com/office/drawing/2014/main" id="{F8FC1738-5D95-343A-7508-776EE48E142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06" t="23174" r="35275" b="16395"/>
          <a:stretch/>
        </p:blipFill>
        <p:spPr bwMode="auto">
          <a:xfrm>
            <a:off x="173898" y="609354"/>
            <a:ext cx="1652440" cy="1824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8935B64A-EB29-0B5E-B636-3966E14AB3DD}"/>
              </a:ext>
            </a:extLst>
          </p:cNvPr>
          <p:cNvSpPr txBox="1"/>
          <p:nvPr/>
        </p:nvSpPr>
        <p:spPr>
          <a:xfrm rot="16200000">
            <a:off x="204652" y="6564865"/>
            <a:ext cx="326708" cy="948978"/>
          </a:xfrm>
          <a:prstGeom prst="rect">
            <a:avLst/>
          </a:prstGeom>
          <a:solidFill>
            <a:srgbClr val="000000">
              <a:alpha val="21961"/>
            </a:srgbClr>
          </a:solidFill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endParaRPr lang="en-US" sz="1100" dirty="0">
              <a:solidFill>
                <a:schemeClr val="bg1"/>
              </a:solidFill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DIR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CK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DA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PGO</a:t>
            </a:r>
          </a:p>
        </p:txBody>
      </p:sp>
      <p:cxnSp>
        <p:nvCxnSpPr>
          <p:cNvPr id="2048" name="Straight Connector 2047">
            <a:extLst>
              <a:ext uri="{FF2B5EF4-FFF2-40B4-BE49-F238E27FC236}">
                <a16:creationId xmlns:a16="http://schemas.microsoft.com/office/drawing/2014/main" id="{C67625F3-801C-A4C9-A9F7-05D431B0815A}"/>
              </a:ext>
            </a:extLst>
          </p:cNvPr>
          <p:cNvCxnSpPr>
            <a:cxnSpLocks/>
          </p:cNvCxnSpPr>
          <p:nvPr/>
        </p:nvCxnSpPr>
        <p:spPr>
          <a:xfrm flipH="1">
            <a:off x="5299146" y="4465078"/>
            <a:ext cx="113402" cy="757797"/>
          </a:xfrm>
          <a:prstGeom prst="line">
            <a:avLst/>
          </a:prstGeom>
          <a:ln w="762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1" name="Straight Connector 2050">
            <a:extLst>
              <a:ext uri="{FF2B5EF4-FFF2-40B4-BE49-F238E27FC236}">
                <a16:creationId xmlns:a16="http://schemas.microsoft.com/office/drawing/2014/main" id="{4F2AFE48-7D49-0354-0FF8-61718AED36AF}"/>
              </a:ext>
            </a:extLst>
          </p:cNvPr>
          <p:cNvCxnSpPr>
            <a:cxnSpLocks/>
          </p:cNvCxnSpPr>
          <p:nvPr/>
        </p:nvCxnSpPr>
        <p:spPr>
          <a:xfrm>
            <a:off x="8839200" y="1748671"/>
            <a:ext cx="465186" cy="0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9" name="Straight Connector 2058">
            <a:extLst>
              <a:ext uri="{FF2B5EF4-FFF2-40B4-BE49-F238E27FC236}">
                <a16:creationId xmlns:a16="http://schemas.microsoft.com/office/drawing/2014/main" id="{E253E822-384B-944D-6F9A-CE329173D522}"/>
              </a:ext>
            </a:extLst>
          </p:cNvPr>
          <p:cNvCxnSpPr>
            <a:cxnSpLocks/>
          </p:cNvCxnSpPr>
          <p:nvPr/>
        </p:nvCxnSpPr>
        <p:spPr>
          <a:xfrm>
            <a:off x="8839200" y="3679067"/>
            <a:ext cx="465186" cy="0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1" name="Straight Connector 2060">
            <a:extLst>
              <a:ext uri="{FF2B5EF4-FFF2-40B4-BE49-F238E27FC236}">
                <a16:creationId xmlns:a16="http://schemas.microsoft.com/office/drawing/2014/main" id="{529809D3-22B1-16EE-0EF9-69007D0CD9F7}"/>
              </a:ext>
            </a:extLst>
          </p:cNvPr>
          <p:cNvCxnSpPr>
            <a:cxnSpLocks/>
          </p:cNvCxnSpPr>
          <p:nvPr/>
        </p:nvCxnSpPr>
        <p:spPr>
          <a:xfrm>
            <a:off x="9304386" y="1748671"/>
            <a:ext cx="5647" cy="1940679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67" name="Group 2066">
            <a:extLst>
              <a:ext uri="{FF2B5EF4-FFF2-40B4-BE49-F238E27FC236}">
                <a16:creationId xmlns:a16="http://schemas.microsoft.com/office/drawing/2014/main" id="{D1D62A40-F74B-3D06-8BAD-CCF92F0A536E}"/>
              </a:ext>
            </a:extLst>
          </p:cNvPr>
          <p:cNvGrpSpPr/>
          <p:nvPr/>
        </p:nvGrpSpPr>
        <p:grpSpPr>
          <a:xfrm>
            <a:off x="5492324" y="595949"/>
            <a:ext cx="763723" cy="180754"/>
            <a:chOff x="3563025" y="2201148"/>
            <a:chExt cx="763723" cy="180754"/>
          </a:xfrm>
        </p:grpSpPr>
        <p:sp>
          <p:nvSpPr>
            <p:cNvPr id="2068" name="Rectangle 2067">
              <a:extLst>
                <a:ext uri="{FF2B5EF4-FFF2-40B4-BE49-F238E27FC236}">
                  <a16:creationId xmlns:a16="http://schemas.microsoft.com/office/drawing/2014/main" id="{F13EDECC-F334-75E3-A333-93244B726274}"/>
                </a:ext>
              </a:extLst>
            </p:cNvPr>
            <p:cNvSpPr/>
            <p:nvPr/>
          </p:nvSpPr>
          <p:spPr>
            <a:xfrm>
              <a:off x="4146748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069" name="Rectangle 2068">
              <a:extLst>
                <a:ext uri="{FF2B5EF4-FFF2-40B4-BE49-F238E27FC236}">
                  <a16:creationId xmlns:a16="http://schemas.microsoft.com/office/drawing/2014/main" id="{A937D932-C200-1F9B-24DC-0B69CD8A007A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070" name="Rectangle 2069">
              <a:extLst>
                <a:ext uri="{FF2B5EF4-FFF2-40B4-BE49-F238E27FC236}">
                  <a16:creationId xmlns:a16="http://schemas.microsoft.com/office/drawing/2014/main" id="{62040A02-3136-6905-C0CF-319C206F1D2F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071" name="Rectangle 2070">
              <a:extLst>
                <a:ext uri="{FF2B5EF4-FFF2-40B4-BE49-F238E27FC236}">
                  <a16:creationId xmlns:a16="http://schemas.microsoft.com/office/drawing/2014/main" id="{304A5DEA-80E3-8F6D-6AC5-ED4AB1E7237A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2072" name="Group 2071">
              <a:extLst>
                <a:ext uri="{FF2B5EF4-FFF2-40B4-BE49-F238E27FC236}">
                  <a16:creationId xmlns:a16="http://schemas.microsoft.com/office/drawing/2014/main" id="{31884BE5-40D8-4DF9-CD1D-7EDFED239C83}"/>
                </a:ext>
              </a:extLst>
            </p:cNvPr>
            <p:cNvGrpSpPr/>
            <p:nvPr/>
          </p:nvGrpSpPr>
          <p:grpSpPr>
            <a:xfrm>
              <a:off x="3612386" y="2255902"/>
              <a:ext cx="657449" cy="72000"/>
              <a:chOff x="3612386" y="2255902"/>
              <a:chExt cx="657449" cy="72000"/>
            </a:xfrm>
          </p:grpSpPr>
          <p:sp>
            <p:nvSpPr>
              <p:cNvPr id="2073" name="Rectangle 2072">
                <a:extLst>
                  <a:ext uri="{FF2B5EF4-FFF2-40B4-BE49-F238E27FC236}">
                    <a16:creationId xmlns:a16="http://schemas.microsoft.com/office/drawing/2014/main" id="{89B7585B-7337-5F84-1DFF-7EFA0597F902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74" name="Rectangle 2073">
                <a:extLst>
                  <a:ext uri="{FF2B5EF4-FFF2-40B4-BE49-F238E27FC236}">
                    <a16:creationId xmlns:a16="http://schemas.microsoft.com/office/drawing/2014/main" id="{FD50A704-C3E2-EDBB-4109-5928DA7FF1BD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75" name="Rectangle 2074">
                <a:extLst>
                  <a:ext uri="{FF2B5EF4-FFF2-40B4-BE49-F238E27FC236}">
                    <a16:creationId xmlns:a16="http://schemas.microsoft.com/office/drawing/2014/main" id="{7F3113DC-5B17-15ED-655F-6E97E5439C27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76" name="Rectangle 2075">
                <a:extLst>
                  <a:ext uri="{FF2B5EF4-FFF2-40B4-BE49-F238E27FC236}">
                    <a16:creationId xmlns:a16="http://schemas.microsoft.com/office/drawing/2014/main" id="{F21131A4-045B-A153-920A-BF320541C100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cxnSp>
        <p:nvCxnSpPr>
          <p:cNvPr id="2087" name="Straight Connector 2086">
            <a:extLst>
              <a:ext uri="{FF2B5EF4-FFF2-40B4-BE49-F238E27FC236}">
                <a16:creationId xmlns:a16="http://schemas.microsoft.com/office/drawing/2014/main" id="{3271340A-963A-9E24-B05E-88DC29097AED}"/>
              </a:ext>
            </a:extLst>
          </p:cNvPr>
          <p:cNvCxnSpPr>
            <a:cxnSpLocks/>
          </p:cNvCxnSpPr>
          <p:nvPr/>
        </p:nvCxnSpPr>
        <p:spPr>
          <a:xfrm flipH="1">
            <a:off x="779640" y="6552916"/>
            <a:ext cx="381321" cy="0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2" name="Straight Connector 2091">
            <a:extLst>
              <a:ext uri="{FF2B5EF4-FFF2-40B4-BE49-F238E27FC236}">
                <a16:creationId xmlns:a16="http://schemas.microsoft.com/office/drawing/2014/main" id="{FF4B50D3-6E0A-D541-3702-73EB69866862}"/>
              </a:ext>
            </a:extLst>
          </p:cNvPr>
          <p:cNvCxnSpPr>
            <a:cxnSpLocks/>
          </p:cNvCxnSpPr>
          <p:nvPr/>
        </p:nvCxnSpPr>
        <p:spPr>
          <a:xfrm flipH="1" flipV="1">
            <a:off x="4795710" y="2690224"/>
            <a:ext cx="1615636" cy="18966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4" name="Straight Connector 2093">
            <a:extLst>
              <a:ext uri="{FF2B5EF4-FFF2-40B4-BE49-F238E27FC236}">
                <a16:creationId xmlns:a16="http://schemas.microsoft.com/office/drawing/2014/main" id="{53E24A4B-111F-F8CC-83C3-6B646910A90A}"/>
              </a:ext>
            </a:extLst>
          </p:cNvPr>
          <p:cNvCxnSpPr>
            <a:cxnSpLocks/>
          </p:cNvCxnSpPr>
          <p:nvPr/>
        </p:nvCxnSpPr>
        <p:spPr>
          <a:xfrm flipH="1" flipV="1">
            <a:off x="4629961" y="2497966"/>
            <a:ext cx="1164672" cy="8696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77" name="Group 2076">
            <a:extLst>
              <a:ext uri="{FF2B5EF4-FFF2-40B4-BE49-F238E27FC236}">
                <a16:creationId xmlns:a16="http://schemas.microsoft.com/office/drawing/2014/main" id="{18C8E1C6-72AA-8CF8-0702-260E29261D23}"/>
              </a:ext>
            </a:extLst>
          </p:cNvPr>
          <p:cNvGrpSpPr/>
          <p:nvPr/>
        </p:nvGrpSpPr>
        <p:grpSpPr>
          <a:xfrm>
            <a:off x="5720810" y="2416662"/>
            <a:ext cx="763863" cy="381774"/>
            <a:chOff x="3563025" y="2201148"/>
            <a:chExt cx="763863" cy="381774"/>
          </a:xfrm>
        </p:grpSpPr>
        <p:sp>
          <p:nvSpPr>
            <p:cNvPr id="2078" name="Rectangle 2077">
              <a:extLst>
                <a:ext uri="{FF2B5EF4-FFF2-40B4-BE49-F238E27FC236}">
                  <a16:creationId xmlns:a16="http://schemas.microsoft.com/office/drawing/2014/main" id="{F64D3E1F-9B8D-BDD9-06A1-94C9DDFEF53E}"/>
                </a:ext>
              </a:extLst>
            </p:cNvPr>
            <p:cNvSpPr/>
            <p:nvPr/>
          </p:nvSpPr>
          <p:spPr>
            <a:xfrm>
              <a:off x="4146888" y="240292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081" name="Rectangle 2080">
              <a:extLst>
                <a:ext uri="{FF2B5EF4-FFF2-40B4-BE49-F238E27FC236}">
                  <a16:creationId xmlns:a16="http://schemas.microsoft.com/office/drawing/2014/main" id="{4E1BC4AB-35D8-1391-03FD-3EFEB220AFFA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2082" name="Group 2081">
              <a:extLst>
                <a:ext uri="{FF2B5EF4-FFF2-40B4-BE49-F238E27FC236}">
                  <a16:creationId xmlns:a16="http://schemas.microsoft.com/office/drawing/2014/main" id="{FD76087F-9540-3BB0-ECA6-55075BB17103}"/>
                </a:ext>
              </a:extLst>
            </p:cNvPr>
            <p:cNvGrpSpPr/>
            <p:nvPr/>
          </p:nvGrpSpPr>
          <p:grpSpPr>
            <a:xfrm>
              <a:off x="3612386" y="2255902"/>
              <a:ext cx="657589" cy="273774"/>
              <a:chOff x="3612386" y="2255902"/>
              <a:chExt cx="657589" cy="273774"/>
            </a:xfrm>
          </p:grpSpPr>
          <p:sp>
            <p:nvSpPr>
              <p:cNvPr id="2083" name="Rectangle 2082">
                <a:extLst>
                  <a:ext uri="{FF2B5EF4-FFF2-40B4-BE49-F238E27FC236}">
                    <a16:creationId xmlns:a16="http://schemas.microsoft.com/office/drawing/2014/main" id="{767707D9-C33D-8FE0-FA0D-A1C1EA2E43F9}"/>
                  </a:ext>
                </a:extLst>
              </p:cNvPr>
              <p:cNvSpPr/>
              <p:nvPr/>
            </p:nvSpPr>
            <p:spPr>
              <a:xfrm>
                <a:off x="4197975" y="2457676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86" name="Rectangle 2085">
                <a:extLst>
                  <a:ext uri="{FF2B5EF4-FFF2-40B4-BE49-F238E27FC236}">
                    <a16:creationId xmlns:a16="http://schemas.microsoft.com/office/drawing/2014/main" id="{329E1139-AA21-4B85-7CA4-39C84BF50991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grpSp>
        <p:nvGrpSpPr>
          <p:cNvPr id="2113" name="Group 2112">
            <a:extLst>
              <a:ext uri="{FF2B5EF4-FFF2-40B4-BE49-F238E27FC236}">
                <a16:creationId xmlns:a16="http://schemas.microsoft.com/office/drawing/2014/main" id="{5CBEF15B-373E-CB38-5F1D-8CA72024255B}"/>
              </a:ext>
            </a:extLst>
          </p:cNvPr>
          <p:cNvGrpSpPr/>
          <p:nvPr/>
        </p:nvGrpSpPr>
        <p:grpSpPr>
          <a:xfrm>
            <a:off x="504978" y="887683"/>
            <a:ext cx="763723" cy="180754"/>
            <a:chOff x="3563025" y="2201148"/>
            <a:chExt cx="763723" cy="180754"/>
          </a:xfrm>
        </p:grpSpPr>
        <p:sp>
          <p:nvSpPr>
            <p:cNvPr id="2114" name="Rectangle 2113">
              <a:extLst>
                <a:ext uri="{FF2B5EF4-FFF2-40B4-BE49-F238E27FC236}">
                  <a16:creationId xmlns:a16="http://schemas.microsoft.com/office/drawing/2014/main" id="{F35C64A2-B02E-377B-4096-923A23B2019A}"/>
                </a:ext>
              </a:extLst>
            </p:cNvPr>
            <p:cNvSpPr/>
            <p:nvPr/>
          </p:nvSpPr>
          <p:spPr>
            <a:xfrm>
              <a:off x="4146748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15" name="Rectangle 2114">
              <a:extLst>
                <a:ext uri="{FF2B5EF4-FFF2-40B4-BE49-F238E27FC236}">
                  <a16:creationId xmlns:a16="http://schemas.microsoft.com/office/drawing/2014/main" id="{445A7BCE-7E5D-A356-FB8C-711C634E318F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16" name="Rectangle 2115">
              <a:extLst>
                <a:ext uri="{FF2B5EF4-FFF2-40B4-BE49-F238E27FC236}">
                  <a16:creationId xmlns:a16="http://schemas.microsoft.com/office/drawing/2014/main" id="{AC78D53C-F1D6-BAE5-7AA0-98DC8BCF3CE7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17" name="Rectangle 2116">
              <a:extLst>
                <a:ext uri="{FF2B5EF4-FFF2-40B4-BE49-F238E27FC236}">
                  <a16:creationId xmlns:a16="http://schemas.microsoft.com/office/drawing/2014/main" id="{E0657F53-A60E-61DC-9050-0ADB8DEADC32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2118" name="Group 2117">
              <a:extLst>
                <a:ext uri="{FF2B5EF4-FFF2-40B4-BE49-F238E27FC236}">
                  <a16:creationId xmlns:a16="http://schemas.microsoft.com/office/drawing/2014/main" id="{E9632527-6D6D-2E0A-F1CA-3D1E2214B0D5}"/>
                </a:ext>
              </a:extLst>
            </p:cNvPr>
            <p:cNvGrpSpPr/>
            <p:nvPr/>
          </p:nvGrpSpPr>
          <p:grpSpPr>
            <a:xfrm>
              <a:off x="3612386" y="2255902"/>
              <a:ext cx="657449" cy="72000"/>
              <a:chOff x="3612386" y="2255902"/>
              <a:chExt cx="657449" cy="72000"/>
            </a:xfrm>
          </p:grpSpPr>
          <p:sp>
            <p:nvSpPr>
              <p:cNvPr id="2119" name="Rectangle 2118">
                <a:extLst>
                  <a:ext uri="{FF2B5EF4-FFF2-40B4-BE49-F238E27FC236}">
                    <a16:creationId xmlns:a16="http://schemas.microsoft.com/office/drawing/2014/main" id="{E750A385-A2DB-D3D1-E8C5-B73A4725ABE4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120" name="Rectangle 2119">
                <a:extLst>
                  <a:ext uri="{FF2B5EF4-FFF2-40B4-BE49-F238E27FC236}">
                    <a16:creationId xmlns:a16="http://schemas.microsoft.com/office/drawing/2014/main" id="{AF215C72-C4A1-F9EE-430E-BCA6FFC62E67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121" name="Rectangle 2120">
                <a:extLst>
                  <a:ext uri="{FF2B5EF4-FFF2-40B4-BE49-F238E27FC236}">
                    <a16:creationId xmlns:a16="http://schemas.microsoft.com/office/drawing/2014/main" id="{D638D08E-9986-8A33-4CDE-1E1905FA1702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122" name="Rectangle 2121">
                <a:extLst>
                  <a:ext uri="{FF2B5EF4-FFF2-40B4-BE49-F238E27FC236}">
                    <a16:creationId xmlns:a16="http://schemas.microsoft.com/office/drawing/2014/main" id="{59AC1743-1BDC-D57F-4B0B-5B6550334111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sp>
        <p:nvSpPr>
          <p:cNvPr id="2123" name="TextBox 2122">
            <a:extLst>
              <a:ext uri="{FF2B5EF4-FFF2-40B4-BE49-F238E27FC236}">
                <a16:creationId xmlns:a16="http://schemas.microsoft.com/office/drawing/2014/main" id="{4D54DF03-D1D6-27C1-4799-076BFD462BDB}"/>
              </a:ext>
            </a:extLst>
          </p:cNvPr>
          <p:cNvSpPr txBox="1"/>
          <p:nvPr/>
        </p:nvSpPr>
        <p:spPr>
          <a:xfrm rot="16200000">
            <a:off x="596680" y="775302"/>
            <a:ext cx="326708" cy="948978"/>
          </a:xfrm>
          <a:prstGeom prst="rect">
            <a:avLst/>
          </a:prstGeom>
          <a:solidFill>
            <a:srgbClr val="000000">
              <a:alpha val="21961"/>
            </a:srgbClr>
          </a:solidFill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endParaRPr lang="en-US" sz="1100" dirty="0">
              <a:solidFill>
                <a:schemeClr val="bg1"/>
              </a:solidFill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DIR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CK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DA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PGO</a:t>
            </a:r>
          </a:p>
        </p:txBody>
      </p:sp>
      <p:cxnSp>
        <p:nvCxnSpPr>
          <p:cNvPr id="2124" name="Straight Connector 2123">
            <a:extLst>
              <a:ext uri="{FF2B5EF4-FFF2-40B4-BE49-F238E27FC236}">
                <a16:creationId xmlns:a16="http://schemas.microsoft.com/office/drawing/2014/main" id="{0A4B524A-6305-B9D4-BDBE-B828E13AC6D2}"/>
              </a:ext>
            </a:extLst>
          </p:cNvPr>
          <p:cNvCxnSpPr>
            <a:cxnSpLocks/>
          </p:cNvCxnSpPr>
          <p:nvPr/>
        </p:nvCxnSpPr>
        <p:spPr>
          <a:xfrm flipH="1">
            <a:off x="4216549" y="2880028"/>
            <a:ext cx="2755751" cy="8155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2" name="Straight Connector 2131">
            <a:extLst>
              <a:ext uri="{FF2B5EF4-FFF2-40B4-BE49-F238E27FC236}">
                <a16:creationId xmlns:a16="http://schemas.microsoft.com/office/drawing/2014/main" id="{72793BA1-46C4-21C9-3B4E-388012FCF7C3}"/>
              </a:ext>
            </a:extLst>
          </p:cNvPr>
          <p:cNvCxnSpPr>
            <a:cxnSpLocks/>
          </p:cNvCxnSpPr>
          <p:nvPr/>
        </p:nvCxnSpPr>
        <p:spPr>
          <a:xfrm>
            <a:off x="2625014" y="943124"/>
            <a:ext cx="3959963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0" name="Group 39">
            <a:extLst>
              <a:ext uri="{FF2B5EF4-FFF2-40B4-BE49-F238E27FC236}">
                <a16:creationId xmlns:a16="http://schemas.microsoft.com/office/drawing/2014/main" id="{5E4978E3-336D-4024-0776-059023285CD8}"/>
              </a:ext>
            </a:extLst>
          </p:cNvPr>
          <p:cNvGrpSpPr/>
          <p:nvPr/>
        </p:nvGrpSpPr>
        <p:grpSpPr>
          <a:xfrm>
            <a:off x="4534665" y="1908684"/>
            <a:ext cx="377402" cy="503104"/>
            <a:chOff x="3734042" y="1880266"/>
            <a:chExt cx="377402" cy="503104"/>
          </a:xfrm>
        </p:grpSpPr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4604E433-A236-505E-0E0F-74AD0E2FDEE7}"/>
                </a:ext>
              </a:extLst>
            </p:cNvPr>
            <p:cNvGrpSpPr/>
            <p:nvPr/>
          </p:nvGrpSpPr>
          <p:grpSpPr>
            <a:xfrm>
              <a:off x="3734042" y="2202616"/>
              <a:ext cx="375212" cy="180754"/>
              <a:chOff x="3951536" y="2201148"/>
              <a:chExt cx="375212" cy="180754"/>
            </a:xfrm>
          </p:grpSpPr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0B033607-E4F8-4623-A586-14A334AB6455}"/>
                  </a:ext>
                </a:extLst>
              </p:cNvPr>
              <p:cNvSpPr/>
              <p:nvPr/>
            </p:nvSpPr>
            <p:spPr>
              <a:xfrm>
                <a:off x="4146748" y="2201148"/>
                <a:ext cx="180000" cy="180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8E03FBB4-20EA-183A-32EA-00876EAB213C}"/>
                  </a:ext>
                </a:extLst>
              </p:cNvPr>
              <p:cNvSpPr/>
              <p:nvPr/>
            </p:nvSpPr>
            <p:spPr>
              <a:xfrm>
                <a:off x="3951536" y="2201902"/>
                <a:ext cx="180000" cy="18000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grpSp>
            <p:nvGrpSpPr>
              <p:cNvPr id="2049" name="Group 2048">
                <a:extLst>
                  <a:ext uri="{FF2B5EF4-FFF2-40B4-BE49-F238E27FC236}">
                    <a16:creationId xmlns:a16="http://schemas.microsoft.com/office/drawing/2014/main" id="{5C50A74C-B677-056E-B863-2C68458F3C6D}"/>
                  </a:ext>
                </a:extLst>
              </p:cNvPr>
              <p:cNvGrpSpPr/>
              <p:nvPr/>
            </p:nvGrpSpPr>
            <p:grpSpPr>
              <a:xfrm>
                <a:off x="4002686" y="2255902"/>
                <a:ext cx="267149" cy="72000"/>
                <a:chOff x="4002686" y="2255902"/>
                <a:chExt cx="267149" cy="72000"/>
              </a:xfrm>
            </p:grpSpPr>
            <p:sp>
              <p:nvSpPr>
                <p:cNvPr id="2052" name="Rectangle 2051">
                  <a:extLst>
                    <a:ext uri="{FF2B5EF4-FFF2-40B4-BE49-F238E27FC236}">
                      <a16:creationId xmlns:a16="http://schemas.microsoft.com/office/drawing/2014/main" id="{171AB8E6-92C2-552A-E387-D5BD17F0B9FC}"/>
                    </a:ext>
                  </a:extLst>
                </p:cNvPr>
                <p:cNvSpPr/>
                <p:nvPr/>
              </p:nvSpPr>
              <p:spPr>
                <a:xfrm>
                  <a:off x="4197835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053" name="Rectangle 2052">
                  <a:extLst>
                    <a:ext uri="{FF2B5EF4-FFF2-40B4-BE49-F238E27FC236}">
                      <a16:creationId xmlns:a16="http://schemas.microsoft.com/office/drawing/2014/main" id="{3CBB4D9C-398F-351E-AA0F-1BB20E9C2FCA}"/>
                    </a:ext>
                  </a:extLst>
                </p:cNvPr>
                <p:cNvSpPr/>
                <p:nvPr/>
              </p:nvSpPr>
              <p:spPr>
                <a:xfrm>
                  <a:off x="4002686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</p:grpSp>
        </p:grp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F0046E54-6604-28E8-4C01-A8ECB7B91A37}"/>
                </a:ext>
              </a:extLst>
            </p:cNvPr>
            <p:cNvSpPr txBox="1"/>
            <p:nvPr/>
          </p:nvSpPr>
          <p:spPr>
            <a:xfrm rot="16200000">
              <a:off x="3775355" y="1852153"/>
              <a:ext cx="307976" cy="364202"/>
            </a:xfrm>
            <a:prstGeom prst="rect">
              <a:avLst/>
            </a:prstGeom>
            <a:solidFill>
              <a:srgbClr val="959595"/>
            </a:solidFill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CK</a:t>
              </a:r>
            </a:p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DA</a:t>
              </a:r>
            </a:p>
          </p:txBody>
        </p:sp>
      </p:grpSp>
      <p:cxnSp>
        <p:nvCxnSpPr>
          <p:cNvPr id="2057" name="Straight Connector 2056">
            <a:extLst>
              <a:ext uri="{FF2B5EF4-FFF2-40B4-BE49-F238E27FC236}">
                <a16:creationId xmlns:a16="http://schemas.microsoft.com/office/drawing/2014/main" id="{2FEC677A-07DD-504B-4684-7524B114E35E}"/>
              </a:ext>
            </a:extLst>
          </p:cNvPr>
          <p:cNvCxnSpPr>
            <a:cxnSpLocks/>
          </p:cNvCxnSpPr>
          <p:nvPr/>
        </p:nvCxnSpPr>
        <p:spPr>
          <a:xfrm flipH="1" flipV="1">
            <a:off x="4013314" y="3088426"/>
            <a:ext cx="2777724" cy="3707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58" name="Group 2057">
            <a:extLst>
              <a:ext uri="{FF2B5EF4-FFF2-40B4-BE49-F238E27FC236}">
                <a16:creationId xmlns:a16="http://schemas.microsoft.com/office/drawing/2014/main" id="{A1A191A2-36B7-4AC5-74A7-24FADE34F624}"/>
              </a:ext>
            </a:extLst>
          </p:cNvPr>
          <p:cNvGrpSpPr/>
          <p:nvPr/>
        </p:nvGrpSpPr>
        <p:grpSpPr>
          <a:xfrm>
            <a:off x="3944982" y="2056228"/>
            <a:ext cx="377402" cy="503104"/>
            <a:chOff x="3734042" y="1880266"/>
            <a:chExt cx="377402" cy="503104"/>
          </a:xfrm>
        </p:grpSpPr>
        <p:grpSp>
          <p:nvGrpSpPr>
            <p:cNvPr id="2060" name="Group 2059">
              <a:extLst>
                <a:ext uri="{FF2B5EF4-FFF2-40B4-BE49-F238E27FC236}">
                  <a16:creationId xmlns:a16="http://schemas.microsoft.com/office/drawing/2014/main" id="{C6D0DD7C-8E67-35F7-F13E-34F6F180BB53}"/>
                </a:ext>
              </a:extLst>
            </p:cNvPr>
            <p:cNvGrpSpPr/>
            <p:nvPr/>
          </p:nvGrpSpPr>
          <p:grpSpPr>
            <a:xfrm>
              <a:off x="3734042" y="2202616"/>
              <a:ext cx="375212" cy="180754"/>
              <a:chOff x="3951536" y="2201148"/>
              <a:chExt cx="375212" cy="180754"/>
            </a:xfrm>
          </p:grpSpPr>
          <p:sp>
            <p:nvSpPr>
              <p:cNvPr id="2063" name="Rectangle 2062">
                <a:extLst>
                  <a:ext uri="{FF2B5EF4-FFF2-40B4-BE49-F238E27FC236}">
                    <a16:creationId xmlns:a16="http://schemas.microsoft.com/office/drawing/2014/main" id="{3F983E2E-C36D-AB97-5C13-071B5E6A6FF7}"/>
                  </a:ext>
                </a:extLst>
              </p:cNvPr>
              <p:cNvSpPr/>
              <p:nvPr/>
            </p:nvSpPr>
            <p:spPr>
              <a:xfrm>
                <a:off x="4146748" y="2201148"/>
                <a:ext cx="180000" cy="180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64" name="Rectangle 2063">
                <a:extLst>
                  <a:ext uri="{FF2B5EF4-FFF2-40B4-BE49-F238E27FC236}">
                    <a16:creationId xmlns:a16="http://schemas.microsoft.com/office/drawing/2014/main" id="{D9CE975E-1C50-54A2-19AD-8B7AA51BB000}"/>
                  </a:ext>
                </a:extLst>
              </p:cNvPr>
              <p:cNvSpPr/>
              <p:nvPr/>
            </p:nvSpPr>
            <p:spPr>
              <a:xfrm>
                <a:off x="3951536" y="2201902"/>
                <a:ext cx="180000" cy="18000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grpSp>
            <p:nvGrpSpPr>
              <p:cNvPr id="2065" name="Group 2064">
                <a:extLst>
                  <a:ext uri="{FF2B5EF4-FFF2-40B4-BE49-F238E27FC236}">
                    <a16:creationId xmlns:a16="http://schemas.microsoft.com/office/drawing/2014/main" id="{0D441A35-B729-C23E-7818-B52A4BBCDE8E}"/>
                  </a:ext>
                </a:extLst>
              </p:cNvPr>
              <p:cNvGrpSpPr/>
              <p:nvPr/>
            </p:nvGrpSpPr>
            <p:grpSpPr>
              <a:xfrm>
                <a:off x="4002686" y="2255902"/>
                <a:ext cx="267149" cy="72000"/>
                <a:chOff x="4002686" y="2255902"/>
                <a:chExt cx="267149" cy="72000"/>
              </a:xfrm>
            </p:grpSpPr>
            <p:sp>
              <p:nvSpPr>
                <p:cNvPr id="2066" name="Rectangle 2065">
                  <a:extLst>
                    <a:ext uri="{FF2B5EF4-FFF2-40B4-BE49-F238E27FC236}">
                      <a16:creationId xmlns:a16="http://schemas.microsoft.com/office/drawing/2014/main" id="{E9B7CAE6-F4FB-61B9-6F17-3E6D662B5F5E}"/>
                    </a:ext>
                  </a:extLst>
                </p:cNvPr>
                <p:cNvSpPr/>
                <p:nvPr/>
              </p:nvSpPr>
              <p:spPr>
                <a:xfrm>
                  <a:off x="4197835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079" name="Rectangle 2078">
                  <a:extLst>
                    <a:ext uri="{FF2B5EF4-FFF2-40B4-BE49-F238E27FC236}">
                      <a16:creationId xmlns:a16="http://schemas.microsoft.com/office/drawing/2014/main" id="{D7B7B20B-0AA9-AFE1-E6C5-74CACD1D2133}"/>
                    </a:ext>
                  </a:extLst>
                </p:cNvPr>
                <p:cNvSpPr/>
                <p:nvPr/>
              </p:nvSpPr>
              <p:spPr>
                <a:xfrm>
                  <a:off x="4002686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</p:grpSp>
        </p:grpSp>
        <p:sp>
          <p:nvSpPr>
            <p:cNvPr id="2062" name="TextBox 2061">
              <a:extLst>
                <a:ext uri="{FF2B5EF4-FFF2-40B4-BE49-F238E27FC236}">
                  <a16:creationId xmlns:a16="http://schemas.microsoft.com/office/drawing/2014/main" id="{63A7A325-8C23-9B97-07E3-CEE44FC79DB8}"/>
                </a:ext>
              </a:extLst>
            </p:cNvPr>
            <p:cNvSpPr txBox="1"/>
            <p:nvPr/>
          </p:nvSpPr>
          <p:spPr>
            <a:xfrm rot="16200000">
              <a:off x="3775355" y="1852153"/>
              <a:ext cx="307976" cy="364202"/>
            </a:xfrm>
            <a:prstGeom prst="rect">
              <a:avLst/>
            </a:prstGeom>
            <a:solidFill>
              <a:srgbClr val="959595"/>
            </a:solidFill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1</a:t>
              </a:r>
            </a:p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2</a:t>
              </a:r>
            </a:p>
          </p:txBody>
        </p:sp>
      </p:grpSp>
      <p:grpSp>
        <p:nvGrpSpPr>
          <p:cNvPr id="2080" name="Group 2079">
            <a:extLst>
              <a:ext uri="{FF2B5EF4-FFF2-40B4-BE49-F238E27FC236}">
                <a16:creationId xmlns:a16="http://schemas.microsoft.com/office/drawing/2014/main" id="{2049DC23-64E3-93DF-11B0-FAB5E09589D5}"/>
              </a:ext>
            </a:extLst>
          </p:cNvPr>
          <p:cNvGrpSpPr/>
          <p:nvPr/>
        </p:nvGrpSpPr>
        <p:grpSpPr>
          <a:xfrm>
            <a:off x="3150355" y="4403142"/>
            <a:ext cx="180000" cy="568421"/>
            <a:chOff x="3929254" y="2202616"/>
            <a:chExt cx="180000" cy="568421"/>
          </a:xfrm>
        </p:grpSpPr>
        <p:grpSp>
          <p:nvGrpSpPr>
            <p:cNvPr id="2084" name="Group 2083">
              <a:extLst>
                <a:ext uri="{FF2B5EF4-FFF2-40B4-BE49-F238E27FC236}">
                  <a16:creationId xmlns:a16="http://schemas.microsoft.com/office/drawing/2014/main" id="{609D72EB-3DB5-6938-3EF7-28E4ECAD56CC}"/>
                </a:ext>
              </a:extLst>
            </p:cNvPr>
            <p:cNvGrpSpPr/>
            <p:nvPr/>
          </p:nvGrpSpPr>
          <p:grpSpPr>
            <a:xfrm>
              <a:off x="3929254" y="2202616"/>
              <a:ext cx="180000" cy="180000"/>
              <a:chOff x="4146748" y="2201148"/>
              <a:chExt cx="180000" cy="180000"/>
            </a:xfrm>
          </p:grpSpPr>
          <p:sp>
            <p:nvSpPr>
              <p:cNvPr id="2088" name="Rectangle 2087">
                <a:extLst>
                  <a:ext uri="{FF2B5EF4-FFF2-40B4-BE49-F238E27FC236}">
                    <a16:creationId xmlns:a16="http://schemas.microsoft.com/office/drawing/2014/main" id="{D3CC2979-5285-305D-DA75-6201E6F31477}"/>
                  </a:ext>
                </a:extLst>
              </p:cNvPr>
              <p:cNvSpPr/>
              <p:nvPr/>
            </p:nvSpPr>
            <p:spPr>
              <a:xfrm>
                <a:off x="4146748" y="2201148"/>
                <a:ext cx="180000" cy="180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91" name="Rectangle 2090">
                <a:extLst>
                  <a:ext uri="{FF2B5EF4-FFF2-40B4-BE49-F238E27FC236}">
                    <a16:creationId xmlns:a16="http://schemas.microsoft.com/office/drawing/2014/main" id="{A8CD763D-2EDF-95A9-31CE-019A8B6D7884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  <p:sp>
          <p:nvSpPr>
            <p:cNvPr id="2085" name="TextBox 2084">
              <a:extLst>
                <a:ext uri="{FF2B5EF4-FFF2-40B4-BE49-F238E27FC236}">
                  <a16:creationId xmlns:a16="http://schemas.microsoft.com/office/drawing/2014/main" id="{82EAA65D-97D2-DE29-A98F-C219B92AE450}"/>
                </a:ext>
              </a:extLst>
            </p:cNvPr>
            <p:cNvSpPr txBox="1"/>
            <p:nvPr/>
          </p:nvSpPr>
          <p:spPr>
            <a:xfrm rot="16200000">
              <a:off x="3835932" y="2497715"/>
              <a:ext cx="377367" cy="169277"/>
            </a:xfrm>
            <a:prstGeom prst="rect">
              <a:avLst/>
            </a:prstGeom>
            <a:solidFill>
              <a:srgbClr val="959595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r"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PWM</a:t>
              </a:r>
            </a:p>
          </p:txBody>
        </p:sp>
      </p:grpSp>
      <p:grpSp>
        <p:nvGrpSpPr>
          <p:cNvPr id="2107" name="Group 2106">
            <a:extLst>
              <a:ext uri="{FF2B5EF4-FFF2-40B4-BE49-F238E27FC236}">
                <a16:creationId xmlns:a16="http://schemas.microsoft.com/office/drawing/2014/main" id="{9A0259D9-2345-3B49-486F-CC9CB146E5A3}"/>
              </a:ext>
            </a:extLst>
          </p:cNvPr>
          <p:cNvGrpSpPr/>
          <p:nvPr/>
        </p:nvGrpSpPr>
        <p:grpSpPr>
          <a:xfrm>
            <a:off x="7033584" y="3639927"/>
            <a:ext cx="180000" cy="180000"/>
            <a:chOff x="1881471" y="5042531"/>
            <a:chExt cx="180000" cy="180000"/>
          </a:xfrm>
        </p:grpSpPr>
        <p:sp>
          <p:nvSpPr>
            <p:cNvPr id="2100" name="Rectangle 2099">
              <a:extLst>
                <a:ext uri="{FF2B5EF4-FFF2-40B4-BE49-F238E27FC236}">
                  <a16:creationId xmlns:a16="http://schemas.microsoft.com/office/drawing/2014/main" id="{DBA82001-7886-1C9B-D706-F0682E6D85BB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03" name="Rectangle 2102">
              <a:extLst>
                <a:ext uri="{FF2B5EF4-FFF2-40B4-BE49-F238E27FC236}">
                  <a16:creationId xmlns:a16="http://schemas.microsoft.com/office/drawing/2014/main" id="{415EE4EB-043C-CC1B-8B0D-4C2103196E07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grpSp>
        <p:nvGrpSpPr>
          <p:cNvPr id="2108" name="Group 2107">
            <a:extLst>
              <a:ext uri="{FF2B5EF4-FFF2-40B4-BE49-F238E27FC236}">
                <a16:creationId xmlns:a16="http://schemas.microsoft.com/office/drawing/2014/main" id="{32ECAEDF-20DF-8808-7AD6-18DB353C48D7}"/>
              </a:ext>
            </a:extLst>
          </p:cNvPr>
          <p:cNvGrpSpPr/>
          <p:nvPr/>
        </p:nvGrpSpPr>
        <p:grpSpPr>
          <a:xfrm>
            <a:off x="3150612" y="3606075"/>
            <a:ext cx="180000" cy="180000"/>
            <a:chOff x="1881471" y="5042531"/>
            <a:chExt cx="180000" cy="180000"/>
          </a:xfrm>
        </p:grpSpPr>
        <p:sp>
          <p:nvSpPr>
            <p:cNvPr id="2110" name="Rectangle 2109">
              <a:extLst>
                <a:ext uri="{FF2B5EF4-FFF2-40B4-BE49-F238E27FC236}">
                  <a16:creationId xmlns:a16="http://schemas.microsoft.com/office/drawing/2014/main" id="{686DD3DF-9BD6-D227-B1A0-CA8FE14E36C7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11" name="Rectangle 2110">
              <a:extLst>
                <a:ext uri="{FF2B5EF4-FFF2-40B4-BE49-F238E27FC236}">
                  <a16:creationId xmlns:a16="http://schemas.microsoft.com/office/drawing/2014/main" id="{9EACC892-8876-9776-1EF1-4EA78045C125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cxnSp>
        <p:nvCxnSpPr>
          <p:cNvPr id="2151" name="Straight Connector 2150">
            <a:extLst>
              <a:ext uri="{FF2B5EF4-FFF2-40B4-BE49-F238E27FC236}">
                <a16:creationId xmlns:a16="http://schemas.microsoft.com/office/drawing/2014/main" id="{C45F0E80-F0C6-1A35-8B01-2586CCD73276}"/>
              </a:ext>
            </a:extLst>
          </p:cNvPr>
          <p:cNvCxnSpPr>
            <a:cxnSpLocks/>
            <a:stCxn id="2155" idx="1"/>
            <a:endCxn id="2159" idx="3"/>
          </p:cNvCxnSpPr>
          <p:nvPr/>
        </p:nvCxnSpPr>
        <p:spPr>
          <a:xfrm flipH="1" flipV="1">
            <a:off x="3667471" y="3102903"/>
            <a:ext cx="2844022" cy="603050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54" name="Group 2153">
            <a:extLst>
              <a:ext uri="{FF2B5EF4-FFF2-40B4-BE49-F238E27FC236}">
                <a16:creationId xmlns:a16="http://schemas.microsoft.com/office/drawing/2014/main" id="{2FB57093-0FA4-FEF3-E145-C3F3DBD3A89D}"/>
              </a:ext>
            </a:extLst>
          </p:cNvPr>
          <p:cNvGrpSpPr/>
          <p:nvPr/>
        </p:nvGrpSpPr>
        <p:grpSpPr>
          <a:xfrm>
            <a:off x="6511493" y="3615953"/>
            <a:ext cx="180000" cy="180000"/>
            <a:chOff x="1881471" y="5042531"/>
            <a:chExt cx="180000" cy="180000"/>
          </a:xfrm>
        </p:grpSpPr>
        <p:sp>
          <p:nvSpPr>
            <p:cNvPr id="2155" name="Rectangle 2154">
              <a:extLst>
                <a:ext uri="{FF2B5EF4-FFF2-40B4-BE49-F238E27FC236}">
                  <a16:creationId xmlns:a16="http://schemas.microsoft.com/office/drawing/2014/main" id="{C0D37966-C29F-84D5-9986-D2678A5E2C50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56" name="Rectangle 2155">
              <a:extLst>
                <a:ext uri="{FF2B5EF4-FFF2-40B4-BE49-F238E27FC236}">
                  <a16:creationId xmlns:a16="http://schemas.microsoft.com/office/drawing/2014/main" id="{6B48D7F4-7E92-94EE-15B9-1D52FC56A50B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grpSp>
        <p:nvGrpSpPr>
          <p:cNvPr id="2157" name="Group 2156">
            <a:extLst>
              <a:ext uri="{FF2B5EF4-FFF2-40B4-BE49-F238E27FC236}">
                <a16:creationId xmlns:a16="http://schemas.microsoft.com/office/drawing/2014/main" id="{B9D0B547-A4C5-9D00-DDAB-2D2923D72301}"/>
              </a:ext>
            </a:extLst>
          </p:cNvPr>
          <p:cNvGrpSpPr/>
          <p:nvPr/>
        </p:nvGrpSpPr>
        <p:grpSpPr>
          <a:xfrm>
            <a:off x="3544384" y="3012149"/>
            <a:ext cx="180000" cy="180000"/>
            <a:chOff x="1881471" y="5042531"/>
            <a:chExt cx="180000" cy="180000"/>
          </a:xfrm>
        </p:grpSpPr>
        <p:sp>
          <p:nvSpPr>
            <p:cNvPr id="2158" name="Rectangle 2157">
              <a:extLst>
                <a:ext uri="{FF2B5EF4-FFF2-40B4-BE49-F238E27FC236}">
                  <a16:creationId xmlns:a16="http://schemas.microsoft.com/office/drawing/2014/main" id="{127DD13F-A756-0FCD-3235-6524383490CE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59" name="Rectangle 2158">
              <a:extLst>
                <a:ext uri="{FF2B5EF4-FFF2-40B4-BE49-F238E27FC236}">
                  <a16:creationId xmlns:a16="http://schemas.microsoft.com/office/drawing/2014/main" id="{3F4B11C5-5FAC-1164-92EE-32BB01BCBD18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cxnSp>
        <p:nvCxnSpPr>
          <p:cNvPr id="2160" name="Straight Connector 2159">
            <a:extLst>
              <a:ext uri="{FF2B5EF4-FFF2-40B4-BE49-F238E27FC236}">
                <a16:creationId xmlns:a16="http://schemas.microsoft.com/office/drawing/2014/main" id="{998313B1-1202-B6A1-384C-A18A07AE4027}"/>
              </a:ext>
            </a:extLst>
          </p:cNvPr>
          <p:cNvCxnSpPr>
            <a:cxnSpLocks/>
          </p:cNvCxnSpPr>
          <p:nvPr/>
        </p:nvCxnSpPr>
        <p:spPr>
          <a:xfrm flipH="1">
            <a:off x="3249130" y="1557071"/>
            <a:ext cx="133788" cy="768918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49" name="Group 2148">
            <a:extLst>
              <a:ext uri="{FF2B5EF4-FFF2-40B4-BE49-F238E27FC236}">
                <a16:creationId xmlns:a16="http://schemas.microsoft.com/office/drawing/2014/main" id="{C16E52BF-DE6B-554B-2458-EB64129835B4}"/>
              </a:ext>
            </a:extLst>
          </p:cNvPr>
          <p:cNvGrpSpPr/>
          <p:nvPr/>
        </p:nvGrpSpPr>
        <p:grpSpPr>
          <a:xfrm>
            <a:off x="3159130" y="2058280"/>
            <a:ext cx="574655" cy="512297"/>
            <a:chOff x="3173684" y="1861022"/>
            <a:chExt cx="574655" cy="512297"/>
          </a:xfrm>
        </p:grpSpPr>
        <p:grpSp>
          <p:nvGrpSpPr>
            <p:cNvPr id="2129" name="Group 2128">
              <a:extLst>
                <a:ext uri="{FF2B5EF4-FFF2-40B4-BE49-F238E27FC236}">
                  <a16:creationId xmlns:a16="http://schemas.microsoft.com/office/drawing/2014/main" id="{C3D2DE59-EFCF-14E6-939F-A4EAD08F06D5}"/>
                </a:ext>
              </a:extLst>
            </p:cNvPr>
            <p:cNvGrpSpPr/>
            <p:nvPr/>
          </p:nvGrpSpPr>
          <p:grpSpPr>
            <a:xfrm>
              <a:off x="3173684" y="1861022"/>
              <a:ext cx="574655" cy="511340"/>
              <a:chOff x="3534599" y="1872030"/>
              <a:chExt cx="574655" cy="511340"/>
            </a:xfrm>
          </p:grpSpPr>
          <p:grpSp>
            <p:nvGrpSpPr>
              <p:cNvPr id="2131" name="Group 2130">
                <a:extLst>
                  <a:ext uri="{FF2B5EF4-FFF2-40B4-BE49-F238E27FC236}">
                    <a16:creationId xmlns:a16="http://schemas.microsoft.com/office/drawing/2014/main" id="{4689E236-FBDC-DF4E-4549-77BDD7C8A6B5}"/>
                  </a:ext>
                </a:extLst>
              </p:cNvPr>
              <p:cNvGrpSpPr/>
              <p:nvPr/>
            </p:nvGrpSpPr>
            <p:grpSpPr>
              <a:xfrm>
                <a:off x="3734042" y="2202616"/>
                <a:ext cx="375212" cy="180754"/>
                <a:chOff x="3951536" y="2201148"/>
                <a:chExt cx="375212" cy="180754"/>
              </a:xfrm>
            </p:grpSpPr>
            <p:sp>
              <p:nvSpPr>
                <p:cNvPr id="2134" name="Rectangle 2133">
                  <a:extLst>
                    <a:ext uri="{FF2B5EF4-FFF2-40B4-BE49-F238E27FC236}">
                      <a16:creationId xmlns:a16="http://schemas.microsoft.com/office/drawing/2014/main" id="{EEE8D064-D7CB-0486-6D6C-D8DCE717C255}"/>
                    </a:ext>
                  </a:extLst>
                </p:cNvPr>
                <p:cNvSpPr/>
                <p:nvPr/>
              </p:nvSpPr>
              <p:spPr>
                <a:xfrm>
                  <a:off x="4146748" y="2201148"/>
                  <a:ext cx="180000" cy="180000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135" name="Rectangle 2134">
                  <a:extLst>
                    <a:ext uri="{FF2B5EF4-FFF2-40B4-BE49-F238E27FC236}">
                      <a16:creationId xmlns:a16="http://schemas.microsoft.com/office/drawing/2014/main" id="{51F080D6-5D1E-EEB9-8617-700D5A87EA81}"/>
                    </a:ext>
                  </a:extLst>
                </p:cNvPr>
                <p:cNvSpPr/>
                <p:nvPr/>
              </p:nvSpPr>
              <p:spPr>
                <a:xfrm>
                  <a:off x="3951536" y="2201902"/>
                  <a:ext cx="180000" cy="180000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grpSp>
              <p:nvGrpSpPr>
                <p:cNvPr id="2136" name="Group 2135">
                  <a:extLst>
                    <a:ext uri="{FF2B5EF4-FFF2-40B4-BE49-F238E27FC236}">
                      <a16:creationId xmlns:a16="http://schemas.microsoft.com/office/drawing/2014/main" id="{DB805CDB-CBC7-A09D-5192-98D6D76653F5}"/>
                    </a:ext>
                  </a:extLst>
                </p:cNvPr>
                <p:cNvGrpSpPr/>
                <p:nvPr/>
              </p:nvGrpSpPr>
              <p:grpSpPr>
                <a:xfrm>
                  <a:off x="4002686" y="2255902"/>
                  <a:ext cx="267149" cy="72000"/>
                  <a:chOff x="4002686" y="2255902"/>
                  <a:chExt cx="267149" cy="72000"/>
                </a:xfrm>
              </p:grpSpPr>
              <p:sp>
                <p:nvSpPr>
                  <p:cNvPr id="2137" name="Rectangle 2136">
                    <a:extLst>
                      <a:ext uri="{FF2B5EF4-FFF2-40B4-BE49-F238E27FC236}">
                        <a16:creationId xmlns:a16="http://schemas.microsoft.com/office/drawing/2014/main" id="{631473B6-528C-92A1-D246-4F8B5D019E74}"/>
                      </a:ext>
                    </a:extLst>
                  </p:cNvPr>
                  <p:cNvSpPr/>
                  <p:nvPr/>
                </p:nvSpPr>
                <p:spPr>
                  <a:xfrm>
                    <a:off x="4197835" y="2255902"/>
                    <a:ext cx="72000" cy="72000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indent="-180975" algn="ctr">
                      <a:spcBef>
                        <a:spcPts val="200"/>
                      </a:spcBef>
                      <a:buFont typeface="Calibri" panose="020F0502020204030204" pitchFamily="34" charset="0"/>
                      <a:buChar char="▪"/>
                    </a:pPr>
                    <a:endParaRPr lang="en-US" sz="1400" dirty="0" err="1"/>
                  </a:p>
                </p:txBody>
              </p:sp>
              <p:sp>
                <p:nvSpPr>
                  <p:cNvPr id="2146" name="Rectangle 2145">
                    <a:extLst>
                      <a:ext uri="{FF2B5EF4-FFF2-40B4-BE49-F238E27FC236}">
                        <a16:creationId xmlns:a16="http://schemas.microsoft.com/office/drawing/2014/main" id="{7153A05A-755F-4A3A-4619-C7C966396B33}"/>
                      </a:ext>
                    </a:extLst>
                  </p:cNvPr>
                  <p:cNvSpPr/>
                  <p:nvPr/>
                </p:nvSpPr>
                <p:spPr>
                  <a:xfrm>
                    <a:off x="4002686" y="2255902"/>
                    <a:ext cx="72000" cy="72000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indent="-180975" algn="ctr">
                      <a:spcBef>
                        <a:spcPts val="200"/>
                      </a:spcBef>
                      <a:buFont typeface="Calibri" panose="020F0502020204030204" pitchFamily="34" charset="0"/>
                      <a:buChar char="▪"/>
                    </a:pPr>
                    <a:endParaRPr lang="en-US" sz="1400" dirty="0" err="1"/>
                  </a:p>
                </p:txBody>
              </p:sp>
            </p:grpSp>
          </p:grpSp>
          <p:sp>
            <p:nvSpPr>
              <p:cNvPr id="2133" name="TextBox 2132">
                <a:extLst>
                  <a:ext uri="{FF2B5EF4-FFF2-40B4-BE49-F238E27FC236}">
                    <a16:creationId xmlns:a16="http://schemas.microsoft.com/office/drawing/2014/main" id="{C9BEA365-A9E1-BACE-52CE-293104E4AE8D}"/>
                  </a:ext>
                </a:extLst>
              </p:cNvPr>
              <p:cNvSpPr txBox="1"/>
              <p:nvPr/>
            </p:nvSpPr>
            <p:spPr>
              <a:xfrm rot="16200000">
                <a:off x="3660175" y="1746454"/>
                <a:ext cx="307976" cy="559127"/>
              </a:xfrm>
              <a:prstGeom prst="rect">
                <a:avLst/>
              </a:prstGeom>
              <a:solidFill>
                <a:srgbClr val="959595">
                  <a:alpha val="67059"/>
                </a:srgbClr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en-US" sz="1100" dirty="0">
                    <a:solidFill>
                      <a:schemeClr val="bg1"/>
                    </a:solidFill>
                  </a:rPr>
                  <a:t>DIR</a:t>
                </a:r>
              </a:p>
              <a:p>
                <a:pPr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en-US" sz="1100" dirty="0">
                    <a:solidFill>
                      <a:schemeClr val="bg1"/>
                    </a:solidFill>
                  </a:rPr>
                  <a:t>PO</a:t>
                </a:r>
              </a:p>
              <a:p>
                <a:pPr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en-US" sz="1100" dirty="0">
                    <a:solidFill>
                      <a:schemeClr val="bg1"/>
                    </a:solidFill>
                  </a:rPr>
                  <a:t>OUT</a:t>
                </a:r>
              </a:p>
            </p:txBody>
          </p:sp>
        </p:grpSp>
        <p:sp>
          <p:nvSpPr>
            <p:cNvPr id="2147" name="Rectangle 2146">
              <a:extLst>
                <a:ext uri="{FF2B5EF4-FFF2-40B4-BE49-F238E27FC236}">
                  <a16:creationId xmlns:a16="http://schemas.microsoft.com/office/drawing/2014/main" id="{D9BCF991-A381-FCED-D5CB-85A3DA07398A}"/>
                </a:ext>
              </a:extLst>
            </p:cNvPr>
            <p:cNvSpPr/>
            <p:nvPr/>
          </p:nvSpPr>
          <p:spPr>
            <a:xfrm>
              <a:off x="3173684" y="2193319"/>
              <a:ext cx="180000" cy="18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48" name="Rectangle 2147">
              <a:extLst>
                <a:ext uri="{FF2B5EF4-FFF2-40B4-BE49-F238E27FC236}">
                  <a16:creationId xmlns:a16="http://schemas.microsoft.com/office/drawing/2014/main" id="{03E8DF05-DF8B-1438-FD18-24C04D87E586}"/>
                </a:ext>
              </a:extLst>
            </p:cNvPr>
            <p:cNvSpPr/>
            <p:nvPr/>
          </p:nvSpPr>
          <p:spPr>
            <a:xfrm>
              <a:off x="3224834" y="2247319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grpSp>
        <p:nvGrpSpPr>
          <p:cNvPr id="2170" name="Group 2169">
            <a:extLst>
              <a:ext uri="{FF2B5EF4-FFF2-40B4-BE49-F238E27FC236}">
                <a16:creationId xmlns:a16="http://schemas.microsoft.com/office/drawing/2014/main" id="{2BCDC050-4CA7-EA76-54F0-FCA202808C87}"/>
              </a:ext>
            </a:extLst>
          </p:cNvPr>
          <p:cNvGrpSpPr/>
          <p:nvPr/>
        </p:nvGrpSpPr>
        <p:grpSpPr>
          <a:xfrm>
            <a:off x="6095901" y="3831442"/>
            <a:ext cx="180000" cy="180000"/>
            <a:chOff x="1881471" y="5042531"/>
            <a:chExt cx="180000" cy="180000"/>
          </a:xfrm>
        </p:grpSpPr>
        <p:sp>
          <p:nvSpPr>
            <p:cNvPr id="2171" name="Rectangle 2170">
              <a:extLst>
                <a:ext uri="{FF2B5EF4-FFF2-40B4-BE49-F238E27FC236}">
                  <a16:creationId xmlns:a16="http://schemas.microsoft.com/office/drawing/2014/main" id="{995F9B3B-5302-06E7-420A-DF77F97574E0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72" name="Rectangle 2171">
              <a:extLst>
                <a:ext uri="{FF2B5EF4-FFF2-40B4-BE49-F238E27FC236}">
                  <a16:creationId xmlns:a16="http://schemas.microsoft.com/office/drawing/2014/main" id="{3D556605-09A1-CF10-2A25-6AA5FA043294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grpSp>
        <p:nvGrpSpPr>
          <p:cNvPr id="2178" name="Group 2177">
            <a:extLst>
              <a:ext uri="{FF2B5EF4-FFF2-40B4-BE49-F238E27FC236}">
                <a16:creationId xmlns:a16="http://schemas.microsoft.com/office/drawing/2014/main" id="{A7EFE875-7F6D-E317-E703-4F25F1A0CF5B}"/>
              </a:ext>
            </a:extLst>
          </p:cNvPr>
          <p:cNvGrpSpPr/>
          <p:nvPr/>
        </p:nvGrpSpPr>
        <p:grpSpPr>
          <a:xfrm>
            <a:off x="6300173" y="3833088"/>
            <a:ext cx="180000" cy="180000"/>
            <a:chOff x="6259969" y="4044627"/>
            <a:chExt cx="180000" cy="180000"/>
          </a:xfrm>
        </p:grpSpPr>
        <p:sp>
          <p:nvSpPr>
            <p:cNvPr id="2176" name="Rectangle 2175">
              <a:extLst>
                <a:ext uri="{FF2B5EF4-FFF2-40B4-BE49-F238E27FC236}">
                  <a16:creationId xmlns:a16="http://schemas.microsoft.com/office/drawing/2014/main" id="{690C1A75-2AFE-D10C-5E0D-FCC8A18AC308}"/>
                </a:ext>
              </a:extLst>
            </p:cNvPr>
            <p:cNvSpPr/>
            <p:nvPr/>
          </p:nvSpPr>
          <p:spPr>
            <a:xfrm>
              <a:off x="6259969" y="4044627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77" name="Rectangle 2176">
              <a:extLst>
                <a:ext uri="{FF2B5EF4-FFF2-40B4-BE49-F238E27FC236}">
                  <a16:creationId xmlns:a16="http://schemas.microsoft.com/office/drawing/2014/main" id="{D30F5476-6A8A-7F66-64E8-4F34994753A3}"/>
                </a:ext>
              </a:extLst>
            </p:cNvPr>
            <p:cNvSpPr/>
            <p:nvPr/>
          </p:nvSpPr>
          <p:spPr>
            <a:xfrm>
              <a:off x="6311119" y="4098627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cxnSp>
        <p:nvCxnSpPr>
          <p:cNvPr id="2185" name="Connector: Elbow 2184">
            <a:extLst>
              <a:ext uri="{FF2B5EF4-FFF2-40B4-BE49-F238E27FC236}">
                <a16:creationId xmlns:a16="http://schemas.microsoft.com/office/drawing/2014/main" id="{09433898-830B-4518-BC07-370E7EA47545}"/>
              </a:ext>
            </a:extLst>
          </p:cNvPr>
          <p:cNvCxnSpPr>
            <a:cxnSpLocks/>
            <a:stCxn id="2176" idx="2"/>
          </p:cNvCxnSpPr>
          <p:nvPr/>
        </p:nvCxnSpPr>
        <p:spPr>
          <a:xfrm rot="5400000">
            <a:off x="5383920" y="3073695"/>
            <a:ext cx="66860" cy="1945646"/>
          </a:xfrm>
          <a:prstGeom prst="bentConnector2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88" name="Connector: Elbow 2187">
            <a:extLst>
              <a:ext uri="{FF2B5EF4-FFF2-40B4-BE49-F238E27FC236}">
                <a16:creationId xmlns:a16="http://schemas.microsoft.com/office/drawing/2014/main" id="{B3053AD8-D013-1F4C-D428-4AD0369B3E5C}"/>
              </a:ext>
            </a:extLst>
          </p:cNvPr>
          <p:cNvCxnSpPr>
            <a:cxnSpLocks/>
            <a:stCxn id="2171" idx="1"/>
          </p:cNvCxnSpPr>
          <p:nvPr/>
        </p:nvCxnSpPr>
        <p:spPr>
          <a:xfrm rot="10800000">
            <a:off x="4249379" y="3879528"/>
            <a:ext cx="1846523" cy="41914"/>
          </a:xfrm>
          <a:prstGeom prst="bentConnector3">
            <a:avLst>
              <a:gd name="adj1" fmla="val 50000"/>
            </a:avLst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1" name="Connector: Elbow 2190">
            <a:extLst>
              <a:ext uri="{FF2B5EF4-FFF2-40B4-BE49-F238E27FC236}">
                <a16:creationId xmlns:a16="http://schemas.microsoft.com/office/drawing/2014/main" id="{C5824DF0-BC2F-EDD8-7351-7C633831AECD}"/>
              </a:ext>
            </a:extLst>
          </p:cNvPr>
          <p:cNvCxnSpPr>
            <a:cxnSpLocks/>
            <a:stCxn id="2100" idx="0"/>
            <a:endCxn id="2110" idx="0"/>
          </p:cNvCxnSpPr>
          <p:nvPr/>
        </p:nvCxnSpPr>
        <p:spPr>
          <a:xfrm rot="16200000" flipV="1">
            <a:off x="5165172" y="1681515"/>
            <a:ext cx="33852" cy="3882972"/>
          </a:xfrm>
          <a:prstGeom prst="bentConnector3">
            <a:avLst>
              <a:gd name="adj1" fmla="val 381372"/>
            </a:avLst>
          </a:prstGeom>
          <a:ln w="76200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grpSp>
        <p:nvGrpSpPr>
          <p:cNvPr id="2198" name="Group 2197">
            <a:extLst>
              <a:ext uri="{FF2B5EF4-FFF2-40B4-BE49-F238E27FC236}">
                <a16:creationId xmlns:a16="http://schemas.microsoft.com/office/drawing/2014/main" id="{5E82AC15-8123-5D4B-6CCC-AACA673DC3CB}"/>
              </a:ext>
            </a:extLst>
          </p:cNvPr>
          <p:cNvGrpSpPr/>
          <p:nvPr/>
        </p:nvGrpSpPr>
        <p:grpSpPr>
          <a:xfrm>
            <a:off x="6683039" y="3005877"/>
            <a:ext cx="180000" cy="180000"/>
            <a:chOff x="1881471" y="5042531"/>
            <a:chExt cx="180000" cy="180000"/>
          </a:xfrm>
        </p:grpSpPr>
        <p:sp>
          <p:nvSpPr>
            <p:cNvPr id="2199" name="Rectangle 2198">
              <a:extLst>
                <a:ext uri="{FF2B5EF4-FFF2-40B4-BE49-F238E27FC236}">
                  <a16:creationId xmlns:a16="http://schemas.microsoft.com/office/drawing/2014/main" id="{05A0219E-77F8-3864-7E60-F1D4BC610413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200" name="Rectangle 2199">
              <a:extLst>
                <a:ext uri="{FF2B5EF4-FFF2-40B4-BE49-F238E27FC236}">
                  <a16:creationId xmlns:a16="http://schemas.microsoft.com/office/drawing/2014/main" id="{DBBB03DD-C07E-9F64-EE1E-CBBE8ABA4935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grpSp>
        <p:nvGrpSpPr>
          <p:cNvPr id="2201" name="Group 2200">
            <a:extLst>
              <a:ext uri="{FF2B5EF4-FFF2-40B4-BE49-F238E27FC236}">
                <a16:creationId xmlns:a16="http://schemas.microsoft.com/office/drawing/2014/main" id="{DBCBE3D8-C645-90AC-5AAB-4DE3AB12A1FF}"/>
              </a:ext>
            </a:extLst>
          </p:cNvPr>
          <p:cNvGrpSpPr/>
          <p:nvPr/>
        </p:nvGrpSpPr>
        <p:grpSpPr>
          <a:xfrm>
            <a:off x="6873929" y="2789266"/>
            <a:ext cx="180000" cy="180000"/>
            <a:chOff x="1881471" y="5042531"/>
            <a:chExt cx="180000" cy="180000"/>
          </a:xfrm>
        </p:grpSpPr>
        <p:sp>
          <p:nvSpPr>
            <p:cNvPr id="2202" name="Rectangle 2201">
              <a:extLst>
                <a:ext uri="{FF2B5EF4-FFF2-40B4-BE49-F238E27FC236}">
                  <a16:creationId xmlns:a16="http://schemas.microsoft.com/office/drawing/2014/main" id="{BEF66062-01F3-CC9F-39C6-70130E170141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203" name="Rectangle 2202">
              <a:extLst>
                <a:ext uri="{FF2B5EF4-FFF2-40B4-BE49-F238E27FC236}">
                  <a16:creationId xmlns:a16="http://schemas.microsoft.com/office/drawing/2014/main" id="{5269D095-5924-FB90-9EBD-0881A9567C35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sp>
        <p:nvSpPr>
          <p:cNvPr id="2205" name="TextBox 2204">
            <a:extLst>
              <a:ext uri="{FF2B5EF4-FFF2-40B4-BE49-F238E27FC236}">
                <a16:creationId xmlns:a16="http://schemas.microsoft.com/office/drawing/2014/main" id="{23749D49-1688-2EB8-762F-11BD9E33DC27}"/>
              </a:ext>
            </a:extLst>
          </p:cNvPr>
          <p:cNvSpPr txBox="1"/>
          <p:nvPr/>
        </p:nvSpPr>
        <p:spPr>
          <a:xfrm>
            <a:off x="6494387" y="2181391"/>
            <a:ext cx="18483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en-US" sz="1400" dirty="0">
                <a:solidFill>
                  <a:srgbClr val="FF0000"/>
                </a:solidFill>
              </a:rPr>
              <a:t>x</a:t>
            </a:r>
          </a:p>
        </p:txBody>
      </p:sp>
      <p:grpSp>
        <p:nvGrpSpPr>
          <p:cNvPr id="2207" name="Group 2206">
            <a:extLst>
              <a:ext uri="{FF2B5EF4-FFF2-40B4-BE49-F238E27FC236}">
                <a16:creationId xmlns:a16="http://schemas.microsoft.com/office/drawing/2014/main" id="{865922E1-69BA-E8A2-241C-31BB8D723CF3}"/>
              </a:ext>
            </a:extLst>
          </p:cNvPr>
          <p:cNvGrpSpPr/>
          <p:nvPr/>
        </p:nvGrpSpPr>
        <p:grpSpPr>
          <a:xfrm>
            <a:off x="4705710" y="4374803"/>
            <a:ext cx="180000" cy="512422"/>
            <a:chOff x="3929254" y="2202616"/>
            <a:chExt cx="180000" cy="512422"/>
          </a:xfrm>
        </p:grpSpPr>
        <p:grpSp>
          <p:nvGrpSpPr>
            <p:cNvPr id="2208" name="Group 2207">
              <a:extLst>
                <a:ext uri="{FF2B5EF4-FFF2-40B4-BE49-F238E27FC236}">
                  <a16:creationId xmlns:a16="http://schemas.microsoft.com/office/drawing/2014/main" id="{027F1F63-2371-C7C2-ACF9-33791E38F8B5}"/>
                </a:ext>
              </a:extLst>
            </p:cNvPr>
            <p:cNvGrpSpPr/>
            <p:nvPr/>
          </p:nvGrpSpPr>
          <p:grpSpPr>
            <a:xfrm>
              <a:off x="3929254" y="2202616"/>
              <a:ext cx="180000" cy="180000"/>
              <a:chOff x="4146748" y="2201148"/>
              <a:chExt cx="180000" cy="180000"/>
            </a:xfrm>
          </p:grpSpPr>
          <p:sp>
            <p:nvSpPr>
              <p:cNvPr id="2210" name="Rectangle 2209">
                <a:extLst>
                  <a:ext uri="{FF2B5EF4-FFF2-40B4-BE49-F238E27FC236}">
                    <a16:creationId xmlns:a16="http://schemas.microsoft.com/office/drawing/2014/main" id="{36292F30-7E65-D409-00A7-F225AE2862A7}"/>
                  </a:ext>
                </a:extLst>
              </p:cNvPr>
              <p:cNvSpPr/>
              <p:nvPr/>
            </p:nvSpPr>
            <p:spPr>
              <a:xfrm>
                <a:off x="4146748" y="2201148"/>
                <a:ext cx="180000" cy="180000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213" name="Rectangle 2212">
                <a:extLst>
                  <a:ext uri="{FF2B5EF4-FFF2-40B4-BE49-F238E27FC236}">
                    <a16:creationId xmlns:a16="http://schemas.microsoft.com/office/drawing/2014/main" id="{1ED2A21E-AA81-B3DE-FE54-4EE9F48B63BB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  <p:sp>
          <p:nvSpPr>
            <p:cNvPr id="2209" name="TextBox 2208">
              <a:extLst>
                <a:ext uri="{FF2B5EF4-FFF2-40B4-BE49-F238E27FC236}">
                  <a16:creationId xmlns:a16="http://schemas.microsoft.com/office/drawing/2014/main" id="{3860DD4A-1FB7-4613-DDF9-53B06D38EDCB}"/>
                </a:ext>
              </a:extLst>
            </p:cNvPr>
            <p:cNvSpPr txBox="1"/>
            <p:nvPr/>
          </p:nvSpPr>
          <p:spPr>
            <a:xfrm rot="16200000">
              <a:off x="3862353" y="2476411"/>
              <a:ext cx="307976" cy="169277"/>
            </a:xfrm>
            <a:prstGeom prst="rect">
              <a:avLst/>
            </a:prstGeom>
            <a:solidFill>
              <a:srgbClr val="959595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r"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TOP</a:t>
              </a:r>
            </a:p>
          </p:txBody>
        </p:sp>
      </p:grpSp>
      <p:cxnSp>
        <p:nvCxnSpPr>
          <p:cNvPr id="2217" name="Connector: Elbow 2216">
            <a:extLst>
              <a:ext uri="{FF2B5EF4-FFF2-40B4-BE49-F238E27FC236}">
                <a16:creationId xmlns:a16="http://schemas.microsoft.com/office/drawing/2014/main" id="{EA64C112-6590-5D5D-F310-656E46CE67D2}"/>
              </a:ext>
            </a:extLst>
          </p:cNvPr>
          <p:cNvCxnSpPr>
            <a:cxnSpLocks/>
          </p:cNvCxnSpPr>
          <p:nvPr/>
        </p:nvCxnSpPr>
        <p:spPr>
          <a:xfrm rot="10800000">
            <a:off x="4789587" y="4298416"/>
            <a:ext cx="1974931" cy="194727"/>
          </a:xfrm>
          <a:prstGeom prst="bentConnector3">
            <a:avLst>
              <a:gd name="adj1" fmla="val 50000"/>
            </a:avLst>
          </a:prstGeom>
          <a:ln w="76200"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230" name="Connector: Elbow 2229">
            <a:extLst>
              <a:ext uri="{FF2B5EF4-FFF2-40B4-BE49-F238E27FC236}">
                <a16:creationId xmlns:a16="http://schemas.microsoft.com/office/drawing/2014/main" id="{183C2758-7FAA-24AE-1569-94759E3412BF}"/>
              </a:ext>
            </a:extLst>
          </p:cNvPr>
          <p:cNvCxnSpPr>
            <a:cxnSpLocks/>
            <a:stCxn id="2240" idx="0"/>
            <a:endCxn id="2237" idx="0"/>
          </p:cNvCxnSpPr>
          <p:nvPr/>
        </p:nvCxnSpPr>
        <p:spPr>
          <a:xfrm rot="16200000" flipH="1" flipV="1">
            <a:off x="5152224" y="2579337"/>
            <a:ext cx="504366" cy="3128520"/>
          </a:xfrm>
          <a:prstGeom prst="bentConnector3">
            <a:avLst>
              <a:gd name="adj1" fmla="val -16052"/>
            </a:avLst>
          </a:prstGeom>
          <a:ln w="76200"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grpSp>
        <p:nvGrpSpPr>
          <p:cNvPr id="2234" name="Group 2233">
            <a:extLst>
              <a:ext uri="{FF2B5EF4-FFF2-40B4-BE49-F238E27FC236}">
                <a16:creationId xmlns:a16="http://schemas.microsoft.com/office/drawing/2014/main" id="{03B7F013-BD35-D5A4-B20D-8FE24C30004C}"/>
              </a:ext>
            </a:extLst>
          </p:cNvPr>
          <p:cNvGrpSpPr/>
          <p:nvPr/>
        </p:nvGrpSpPr>
        <p:grpSpPr>
          <a:xfrm>
            <a:off x="3750147" y="4395780"/>
            <a:ext cx="180000" cy="512422"/>
            <a:chOff x="3929254" y="2202616"/>
            <a:chExt cx="180000" cy="512422"/>
          </a:xfrm>
        </p:grpSpPr>
        <p:grpSp>
          <p:nvGrpSpPr>
            <p:cNvPr id="2235" name="Group 2234">
              <a:extLst>
                <a:ext uri="{FF2B5EF4-FFF2-40B4-BE49-F238E27FC236}">
                  <a16:creationId xmlns:a16="http://schemas.microsoft.com/office/drawing/2014/main" id="{DDA20774-F3EC-EFC4-1B76-A17B6660CFDC}"/>
                </a:ext>
              </a:extLst>
            </p:cNvPr>
            <p:cNvGrpSpPr/>
            <p:nvPr/>
          </p:nvGrpSpPr>
          <p:grpSpPr>
            <a:xfrm>
              <a:off x="3929254" y="2202616"/>
              <a:ext cx="180000" cy="180000"/>
              <a:chOff x="4146748" y="2201148"/>
              <a:chExt cx="180000" cy="180000"/>
            </a:xfrm>
          </p:grpSpPr>
          <p:sp>
            <p:nvSpPr>
              <p:cNvPr id="2237" name="Rectangle 2236">
                <a:extLst>
                  <a:ext uri="{FF2B5EF4-FFF2-40B4-BE49-F238E27FC236}">
                    <a16:creationId xmlns:a16="http://schemas.microsoft.com/office/drawing/2014/main" id="{62538772-B10C-55F0-B224-6FD73A4B10BE}"/>
                  </a:ext>
                </a:extLst>
              </p:cNvPr>
              <p:cNvSpPr/>
              <p:nvPr/>
            </p:nvSpPr>
            <p:spPr>
              <a:xfrm>
                <a:off x="4146748" y="2201148"/>
                <a:ext cx="180000" cy="180000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238" name="Rectangle 2237">
                <a:extLst>
                  <a:ext uri="{FF2B5EF4-FFF2-40B4-BE49-F238E27FC236}">
                    <a16:creationId xmlns:a16="http://schemas.microsoft.com/office/drawing/2014/main" id="{C0AC5AB6-C642-E9DE-C99E-CE721A7440C1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  <p:sp>
          <p:nvSpPr>
            <p:cNvPr id="2236" name="TextBox 2235">
              <a:extLst>
                <a:ext uri="{FF2B5EF4-FFF2-40B4-BE49-F238E27FC236}">
                  <a16:creationId xmlns:a16="http://schemas.microsoft.com/office/drawing/2014/main" id="{998C3477-CE09-9CDB-BABE-EE3D7CC20E36}"/>
                </a:ext>
              </a:extLst>
            </p:cNvPr>
            <p:cNvSpPr txBox="1"/>
            <p:nvPr/>
          </p:nvSpPr>
          <p:spPr>
            <a:xfrm rot="16200000">
              <a:off x="3862353" y="2476411"/>
              <a:ext cx="307976" cy="169277"/>
            </a:xfrm>
            <a:prstGeom prst="rect">
              <a:avLst/>
            </a:prstGeom>
            <a:solidFill>
              <a:srgbClr val="959595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r"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Poti</a:t>
              </a:r>
            </a:p>
          </p:txBody>
        </p:sp>
      </p:grpSp>
      <p:sp>
        <p:nvSpPr>
          <p:cNvPr id="2240" name="Rectangle 2239">
            <a:extLst>
              <a:ext uri="{FF2B5EF4-FFF2-40B4-BE49-F238E27FC236}">
                <a16:creationId xmlns:a16="http://schemas.microsoft.com/office/drawing/2014/main" id="{B17B01D7-EDAD-CCBA-0798-CB71440D843D}"/>
              </a:ext>
            </a:extLst>
          </p:cNvPr>
          <p:cNvSpPr/>
          <p:nvPr/>
        </p:nvSpPr>
        <p:spPr>
          <a:xfrm>
            <a:off x="6878667" y="3891414"/>
            <a:ext cx="180000" cy="1800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US" sz="1400" dirty="0" err="1"/>
          </a:p>
        </p:txBody>
      </p:sp>
      <p:sp>
        <p:nvSpPr>
          <p:cNvPr id="2241" name="Rectangle 2240">
            <a:extLst>
              <a:ext uri="{FF2B5EF4-FFF2-40B4-BE49-F238E27FC236}">
                <a16:creationId xmlns:a16="http://schemas.microsoft.com/office/drawing/2014/main" id="{402BC2F4-8CD0-7114-7989-1921C86398E9}"/>
              </a:ext>
            </a:extLst>
          </p:cNvPr>
          <p:cNvSpPr/>
          <p:nvPr/>
        </p:nvSpPr>
        <p:spPr>
          <a:xfrm>
            <a:off x="6929754" y="3946168"/>
            <a:ext cx="72000" cy="720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US" sz="1400" dirty="0" err="1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57B409E6-3309-EC2D-8F12-C04F0CD27253}"/>
              </a:ext>
            </a:extLst>
          </p:cNvPr>
          <p:cNvGrpSpPr/>
          <p:nvPr/>
        </p:nvGrpSpPr>
        <p:grpSpPr>
          <a:xfrm>
            <a:off x="4154896" y="3577517"/>
            <a:ext cx="569904" cy="498667"/>
            <a:chOff x="4126228" y="4382415"/>
            <a:chExt cx="569904" cy="498667"/>
          </a:xfrm>
        </p:grpSpPr>
        <p:grpSp>
          <p:nvGrpSpPr>
            <p:cNvPr id="2162" name="Group 2161">
              <a:extLst>
                <a:ext uri="{FF2B5EF4-FFF2-40B4-BE49-F238E27FC236}">
                  <a16:creationId xmlns:a16="http://schemas.microsoft.com/office/drawing/2014/main" id="{38E2D0FC-C6D8-132F-29AE-F631812012B1}"/>
                </a:ext>
              </a:extLst>
            </p:cNvPr>
            <p:cNvGrpSpPr/>
            <p:nvPr/>
          </p:nvGrpSpPr>
          <p:grpSpPr>
            <a:xfrm>
              <a:off x="4126228" y="4386805"/>
              <a:ext cx="567079" cy="494277"/>
              <a:chOff x="3734042" y="2202616"/>
              <a:chExt cx="567079" cy="494277"/>
            </a:xfrm>
          </p:grpSpPr>
          <p:grpSp>
            <p:nvGrpSpPr>
              <p:cNvPr id="2163" name="Group 2162">
                <a:extLst>
                  <a:ext uri="{FF2B5EF4-FFF2-40B4-BE49-F238E27FC236}">
                    <a16:creationId xmlns:a16="http://schemas.microsoft.com/office/drawing/2014/main" id="{B56BA1E4-CE27-E63F-459D-791D5DAAA296}"/>
                  </a:ext>
                </a:extLst>
              </p:cNvPr>
              <p:cNvGrpSpPr/>
              <p:nvPr/>
            </p:nvGrpSpPr>
            <p:grpSpPr>
              <a:xfrm>
                <a:off x="3734042" y="2202616"/>
                <a:ext cx="375212" cy="180754"/>
                <a:chOff x="3951536" y="2201148"/>
                <a:chExt cx="375212" cy="180754"/>
              </a:xfrm>
            </p:grpSpPr>
            <p:sp>
              <p:nvSpPr>
                <p:cNvPr id="2165" name="Rectangle 2164">
                  <a:extLst>
                    <a:ext uri="{FF2B5EF4-FFF2-40B4-BE49-F238E27FC236}">
                      <a16:creationId xmlns:a16="http://schemas.microsoft.com/office/drawing/2014/main" id="{F0C44107-45C6-75D1-3A71-9B5C5598CBC3}"/>
                    </a:ext>
                  </a:extLst>
                </p:cNvPr>
                <p:cNvSpPr/>
                <p:nvPr/>
              </p:nvSpPr>
              <p:spPr>
                <a:xfrm>
                  <a:off x="4146748" y="2201148"/>
                  <a:ext cx="180000" cy="180000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166" name="Rectangle 2165">
                  <a:extLst>
                    <a:ext uri="{FF2B5EF4-FFF2-40B4-BE49-F238E27FC236}">
                      <a16:creationId xmlns:a16="http://schemas.microsoft.com/office/drawing/2014/main" id="{AF7FA134-117D-F5DA-0904-57EA0D6D1281}"/>
                    </a:ext>
                  </a:extLst>
                </p:cNvPr>
                <p:cNvSpPr/>
                <p:nvPr/>
              </p:nvSpPr>
              <p:spPr>
                <a:xfrm>
                  <a:off x="3951536" y="2201902"/>
                  <a:ext cx="180000" cy="180000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grpSp>
              <p:nvGrpSpPr>
                <p:cNvPr id="2167" name="Group 2166">
                  <a:extLst>
                    <a:ext uri="{FF2B5EF4-FFF2-40B4-BE49-F238E27FC236}">
                      <a16:creationId xmlns:a16="http://schemas.microsoft.com/office/drawing/2014/main" id="{E8EBF5CC-8259-66FD-6FC2-7309F7A032B8}"/>
                    </a:ext>
                  </a:extLst>
                </p:cNvPr>
                <p:cNvGrpSpPr/>
                <p:nvPr/>
              </p:nvGrpSpPr>
              <p:grpSpPr>
                <a:xfrm>
                  <a:off x="4002686" y="2255902"/>
                  <a:ext cx="267149" cy="72000"/>
                  <a:chOff x="4002686" y="2255902"/>
                  <a:chExt cx="267149" cy="72000"/>
                </a:xfrm>
              </p:grpSpPr>
              <p:sp>
                <p:nvSpPr>
                  <p:cNvPr id="2168" name="Rectangle 2167">
                    <a:extLst>
                      <a:ext uri="{FF2B5EF4-FFF2-40B4-BE49-F238E27FC236}">
                        <a16:creationId xmlns:a16="http://schemas.microsoft.com/office/drawing/2014/main" id="{FCB58EA0-3797-5B15-3C47-ACF5BE10B947}"/>
                      </a:ext>
                    </a:extLst>
                  </p:cNvPr>
                  <p:cNvSpPr/>
                  <p:nvPr/>
                </p:nvSpPr>
                <p:spPr>
                  <a:xfrm>
                    <a:off x="4197835" y="2255902"/>
                    <a:ext cx="72000" cy="72000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indent="-180975" algn="ctr">
                      <a:spcBef>
                        <a:spcPts val="200"/>
                      </a:spcBef>
                      <a:buFont typeface="Calibri" panose="020F0502020204030204" pitchFamily="34" charset="0"/>
                      <a:buChar char="▪"/>
                    </a:pPr>
                    <a:endParaRPr lang="en-US" sz="1400" dirty="0" err="1"/>
                  </a:p>
                </p:txBody>
              </p:sp>
              <p:sp>
                <p:nvSpPr>
                  <p:cNvPr id="2169" name="Rectangle 2168">
                    <a:extLst>
                      <a:ext uri="{FF2B5EF4-FFF2-40B4-BE49-F238E27FC236}">
                        <a16:creationId xmlns:a16="http://schemas.microsoft.com/office/drawing/2014/main" id="{11E086BB-66CD-7203-B0E1-E85B53930121}"/>
                      </a:ext>
                    </a:extLst>
                  </p:cNvPr>
                  <p:cNvSpPr/>
                  <p:nvPr/>
                </p:nvSpPr>
                <p:spPr>
                  <a:xfrm>
                    <a:off x="4002686" y="2255902"/>
                    <a:ext cx="72000" cy="72000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indent="-180975" algn="ctr">
                      <a:spcBef>
                        <a:spcPts val="200"/>
                      </a:spcBef>
                      <a:buFont typeface="Calibri" panose="020F0502020204030204" pitchFamily="34" charset="0"/>
                      <a:buChar char="▪"/>
                    </a:pPr>
                    <a:endParaRPr lang="en-US" sz="1400" dirty="0" err="1"/>
                  </a:p>
                </p:txBody>
              </p:sp>
            </p:grpSp>
          </p:grpSp>
          <p:sp>
            <p:nvSpPr>
              <p:cNvPr id="2164" name="TextBox 2163">
                <a:extLst>
                  <a:ext uri="{FF2B5EF4-FFF2-40B4-BE49-F238E27FC236}">
                    <a16:creationId xmlns:a16="http://schemas.microsoft.com/office/drawing/2014/main" id="{EB682DF9-19D8-5321-5058-1DDB1DED37DC}"/>
                  </a:ext>
                </a:extLst>
              </p:cNvPr>
              <p:cNvSpPr txBox="1"/>
              <p:nvPr/>
            </p:nvSpPr>
            <p:spPr>
              <a:xfrm rot="16200000">
                <a:off x="3867570" y="2263341"/>
                <a:ext cx="307976" cy="559127"/>
              </a:xfrm>
              <a:prstGeom prst="rect">
                <a:avLst/>
              </a:prstGeom>
              <a:solidFill>
                <a:srgbClr val="959595">
                  <a:alpha val="60000"/>
                </a:srgbClr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algn="r"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en-US" sz="1100" dirty="0">
                    <a:solidFill>
                      <a:schemeClr val="bg1"/>
                    </a:solidFill>
                  </a:rPr>
                  <a:t>RX</a:t>
                </a:r>
              </a:p>
              <a:p>
                <a:pPr algn="r"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en-US" sz="1100" dirty="0">
                    <a:solidFill>
                      <a:schemeClr val="bg1"/>
                    </a:solidFill>
                  </a:rPr>
                  <a:t>TX</a:t>
                </a:r>
              </a:p>
              <a:p>
                <a:pPr algn="r"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en-US" sz="1100" dirty="0">
                    <a:solidFill>
                      <a:schemeClr val="bg1"/>
                    </a:solidFill>
                  </a:rPr>
                  <a:t>GND</a:t>
                </a:r>
              </a:p>
            </p:txBody>
          </p:sp>
        </p:grpSp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0A509B09-914E-F9B9-BD1D-6050E7AAE715}"/>
                </a:ext>
              </a:extLst>
            </p:cNvPr>
            <p:cNvSpPr/>
            <p:nvPr/>
          </p:nvSpPr>
          <p:spPr>
            <a:xfrm>
              <a:off x="4516132" y="4382415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FEB5C9E8-5079-F62F-E9A9-81D6D03803B4}"/>
                </a:ext>
              </a:extLst>
            </p:cNvPr>
            <p:cNvSpPr/>
            <p:nvPr/>
          </p:nvSpPr>
          <p:spPr>
            <a:xfrm>
              <a:off x="4567219" y="4437169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C50437B-961F-FB73-3B88-51E1612B34E9}"/>
              </a:ext>
            </a:extLst>
          </p:cNvPr>
          <p:cNvCxnSpPr>
            <a:cxnSpLocks/>
          </p:cNvCxnSpPr>
          <p:nvPr/>
        </p:nvCxnSpPr>
        <p:spPr>
          <a:xfrm flipH="1">
            <a:off x="4502372" y="4449780"/>
            <a:ext cx="119443" cy="605819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7676223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1FAA62C8-67D6-2C03-4F45-5C825BF027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4" descr="1pcs AS5600 자기 인코더 자기 유도 각도 측정 센서 모듈 12bit 고정밀|반도체 집적회로| - AliExpress">
            <a:extLst>
              <a:ext uri="{FF2B5EF4-FFF2-40B4-BE49-F238E27FC236}">
                <a16:creationId xmlns:a16="http://schemas.microsoft.com/office/drawing/2014/main" id="{88D73887-34D2-7F16-D513-AB9D4CF2A5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263900" y="-1460500"/>
            <a:ext cx="4632960" cy="46329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364833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SB_16zu9_Blau-Türkisblau">
  <a:themeElements>
    <a:clrScheme name="HSB">
      <a:dk1>
        <a:sysClr val="windowText" lastClr="000000"/>
      </a:dk1>
      <a:lt1>
        <a:sysClr val="window" lastClr="FFFFFF"/>
      </a:lt1>
      <a:dk2>
        <a:srgbClr val="32B4C8"/>
      </a:dk2>
      <a:lt2>
        <a:srgbClr val="0A558C"/>
      </a:lt2>
      <a:accent1>
        <a:srgbClr val="00915A"/>
      </a:accent1>
      <a:accent2>
        <a:srgbClr val="6EA53C"/>
      </a:accent2>
      <a:accent3>
        <a:srgbClr val="FABE00"/>
      </a:accent3>
      <a:accent4>
        <a:srgbClr val="F07823"/>
      </a:accent4>
      <a:accent5>
        <a:srgbClr val="C30532"/>
      </a:accent5>
      <a:accent6>
        <a:srgbClr val="7864A5"/>
      </a:accent6>
      <a:hlink>
        <a:srgbClr val="32B4C8"/>
      </a:hlink>
      <a:folHlink>
        <a:srgbClr val="F07823"/>
      </a:folHlink>
    </a:clrScheme>
    <a:fontScheme name="HSB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180975" indent="-180975" algn="ctr">
          <a:spcBef>
            <a:spcPts val="200"/>
          </a:spcBef>
          <a:buFont typeface="Calibri" panose="020F0502020204030204" pitchFamily="34" charset="0"/>
          <a:buChar char="▪"/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>
          <a:spcBef>
            <a:spcPts val="200"/>
          </a:spcBef>
          <a:buClr>
            <a:schemeClr val="bg2"/>
          </a:buClr>
          <a:buFont typeface="Wingdings" panose="05000000000000000000" pitchFamily="2" charset="2"/>
          <a:buChar char="§"/>
          <a:defRPr sz="1400" dirty="0" err="1" smtClean="0">
            <a:solidFill>
              <a:schemeClr val="bg2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WorkshopIdee-MiniKenterprise</Template>
  <TotalTime>0</TotalTime>
  <Words>159</Words>
  <Application>Microsoft Office PowerPoint</Application>
  <PresentationFormat>Widescreen</PresentationFormat>
  <Paragraphs>108</Paragraphs>
  <Slides>9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Aptos</vt:lpstr>
      <vt:lpstr>Arial</vt:lpstr>
      <vt:lpstr>Calibri</vt:lpstr>
      <vt:lpstr>Symbol</vt:lpstr>
      <vt:lpstr>Wingdings</vt:lpstr>
      <vt:lpstr>HSB_16zu9_Blau-Türkisblau</vt:lpstr>
      <vt:lpstr>think-cell Folie</vt:lpstr>
      <vt:lpstr>PowerPoint Presentation</vt:lpstr>
      <vt:lpstr>3D Druck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ni Kenterprise Bauplan</dc:title>
  <dc:creator>Jan Kettler</dc:creator>
  <cp:lastModifiedBy>Jan K</cp:lastModifiedBy>
  <cp:revision>20</cp:revision>
  <dcterms:created xsi:type="dcterms:W3CDTF">2021-10-11T10:06:39Z</dcterms:created>
  <dcterms:modified xsi:type="dcterms:W3CDTF">2024-11-21T21:47:59Z</dcterms:modified>
</cp:coreProperties>
</file>